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98" r:id="rId2"/>
  </p:sldMasterIdLst>
  <p:notesMasterIdLst>
    <p:notesMasterId r:id="rId28"/>
  </p:notesMasterIdLst>
  <p:sldIdLst>
    <p:sldId id="257" r:id="rId3"/>
    <p:sldId id="292" r:id="rId4"/>
    <p:sldId id="268" r:id="rId5"/>
    <p:sldId id="271" r:id="rId6"/>
    <p:sldId id="273" r:id="rId7"/>
    <p:sldId id="305" r:id="rId8"/>
    <p:sldId id="274" r:id="rId9"/>
    <p:sldId id="304" r:id="rId10"/>
    <p:sldId id="301" r:id="rId11"/>
    <p:sldId id="302" r:id="rId12"/>
    <p:sldId id="288" r:id="rId13"/>
    <p:sldId id="307" r:id="rId14"/>
    <p:sldId id="308" r:id="rId15"/>
    <p:sldId id="309" r:id="rId16"/>
    <p:sldId id="311" r:id="rId17"/>
    <p:sldId id="312" r:id="rId18"/>
    <p:sldId id="314" r:id="rId19"/>
    <p:sldId id="306" r:id="rId20"/>
    <p:sldId id="296" r:id="rId21"/>
    <p:sldId id="303" r:id="rId22"/>
    <p:sldId id="299" r:id="rId23"/>
    <p:sldId id="318" r:id="rId24"/>
    <p:sldId id="316" r:id="rId25"/>
    <p:sldId id="315" r:id="rId26"/>
    <p:sldId id="317" r:id="rId27"/>
  </p:sldIdLst>
  <p:sldSz cx="13716000" cy="7716838"/>
  <p:notesSz cx="7010400" cy="9296400"/>
  <p:defaultTextStyle>
    <a:defPPr>
      <a:defRPr lang="en-US"/>
    </a:defPPr>
    <a:lvl1pPr marL="0" algn="l" defTabSz="61232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12328" algn="l" defTabSz="61232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24656" algn="l" defTabSz="61232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36984" algn="l" defTabSz="61232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49312" algn="l" defTabSz="61232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61640" algn="l" defTabSz="61232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73968" algn="l" defTabSz="61232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86296" algn="l" defTabSz="61232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98624" algn="l" defTabSz="61232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31">
          <p15:clr>
            <a:srgbClr val="A4A3A4"/>
          </p15:clr>
        </p15:guide>
        <p15:guide id="2" pos="43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 varScale="1">
        <p:scale>
          <a:sx n="98" d="100"/>
          <a:sy n="98" d="100"/>
        </p:scale>
        <p:origin x="564" y="90"/>
      </p:cViewPr>
      <p:guideLst>
        <p:guide orient="horz" pos="2431"/>
        <p:guide pos="432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1200"/>
              <a:t>International Enrollment Growth Rates:  Illinois State University  v State of Illinois v United States</a:t>
            </a:r>
          </a:p>
        </c:rich>
      </c:tx>
      <c:layout>
        <c:manualLayout>
          <c:xMode val="edge"/>
          <c:yMode val="edge"/>
          <c:x val="0.11182285633061188"/>
          <c:y val="2.89257170882659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238852748710625"/>
          <c:y val="0.23767297540858526"/>
          <c:w val="0.8594058626558464"/>
          <c:h val="0.53381841482515124"/>
        </c:manualLayout>
      </c:layout>
      <c:lineChart>
        <c:grouping val="standard"/>
        <c:varyColors val="0"/>
        <c:ser>
          <c:idx val="2"/>
          <c:order val="2"/>
          <c:tx>
            <c:strRef>
              <c:f>'Open Doors _ NAFSA comparisons'!$L$1</c:f>
              <c:strCache>
                <c:ptCount val="1"/>
                <c:pt idx="0">
                  <c:v>Intl students Illinois State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'Open Doors _ NAFSA comparisons'!$I$2:$I$8</c:f>
              <c:strCache>
                <c:ptCount val="7"/>
                <c:pt idx="0">
                  <c:v>2007-08</c:v>
                </c:pt>
                <c:pt idx="1">
                  <c:v>2008-09</c:v>
                </c:pt>
                <c:pt idx="2">
                  <c:v>2009-10</c:v>
                </c:pt>
                <c:pt idx="3">
                  <c:v>2010-11</c:v>
                </c:pt>
                <c:pt idx="4">
                  <c:v>2011-12</c:v>
                </c:pt>
                <c:pt idx="5">
                  <c:v>2012-13</c:v>
                </c:pt>
                <c:pt idx="6">
                  <c:v>2013-14</c:v>
                </c:pt>
              </c:strCache>
            </c:strRef>
          </c:cat>
          <c:val>
            <c:numRef>
              <c:f>'Open Doors _ NAFSA comparisons'!$L$2:$L$8</c:f>
              <c:numCache>
                <c:formatCode>0%</c:formatCode>
                <c:ptCount val="7"/>
                <c:pt idx="0">
                  <c:v>0</c:v>
                </c:pt>
                <c:pt idx="1">
                  <c:v>-5.7142857142857141E-2</c:v>
                </c:pt>
                <c:pt idx="2">
                  <c:v>-6.5306122448979598E-2</c:v>
                </c:pt>
                <c:pt idx="3">
                  <c:v>-9.3877551020408165E-2</c:v>
                </c:pt>
                <c:pt idx="4">
                  <c:v>-2.0408163265306124E-3</c:v>
                </c:pt>
                <c:pt idx="5">
                  <c:v>3.4693877551020408E-2</c:v>
                </c:pt>
                <c:pt idx="6">
                  <c:v>5.9183673469387757E-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E3EB-4178-94C4-C29AC2246F0D}"/>
            </c:ext>
          </c:extLst>
        </c:ser>
        <c:ser>
          <c:idx val="3"/>
          <c:order val="3"/>
          <c:tx>
            <c:strRef>
              <c:f>'Open Doors _ NAFSA comparisons'!$M$1</c:f>
              <c:strCache>
                <c:ptCount val="1"/>
                <c:pt idx="0">
                  <c:v>Intl students Illinois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Pt>
            <c:idx val="4"/>
            <c:marker>
              <c:symbol val="none"/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E3EB-4178-94C4-C29AC2246F0D}"/>
              </c:ext>
            </c:extLst>
          </c:dPt>
          <c:cat>
            <c:strRef>
              <c:f>'Open Doors _ NAFSA comparisons'!$I$2:$I$8</c:f>
              <c:strCache>
                <c:ptCount val="7"/>
                <c:pt idx="0">
                  <c:v>2007-08</c:v>
                </c:pt>
                <c:pt idx="1">
                  <c:v>2008-09</c:v>
                </c:pt>
                <c:pt idx="2">
                  <c:v>2009-10</c:v>
                </c:pt>
                <c:pt idx="3">
                  <c:v>2010-11</c:v>
                </c:pt>
                <c:pt idx="4">
                  <c:v>2011-12</c:v>
                </c:pt>
                <c:pt idx="5">
                  <c:v>2012-13</c:v>
                </c:pt>
                <c:pt idx="6">
                  <c:v>2013-14</c:v>
                </c:pt>
              </c:strCache>
            </c:strRef>
          </c:cat>
          <c:val>
            <c:numRef>
              <c:f>'Open Doors _ NAFSA comparisons'!$M$2:$M$8</c:f>
              <c:numCache>
                <c:formatCode>0%</c:formatCode>
                <c:ptCount val="7"/>
                <c:pt idx="0">
                  <c:v>0</c:v>
                </c:pt>
                <c:pt idx="1">
                  <c:v>4.4853866592085026E-2</c:v>
                </c:pt>
                <c:pt idx="2">
                  <c:v>8.701580198573626E-2</c:v>
                </c:pt>
                <c:pt idx="3">
                  <c:v>0.18046427073136626</c:v>
                </c:pt>
                <c:pt idx="4">
                  <c:v>0.25576842399664385</c:v>
                </c:pt>
                <c:pt idx="5">
                  <c:v>0.36508879876940287</c:v>
                </c:pt>
                <c:pt idx="6">
                  <c:v>0.486750104880436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E3EB-4178-94C4-C29AC2246F0D}"/>
            </c:ext>
          </c:extLst>
        </c:ser>
        <c:ser>
          <c:idx val="4"/>
          <c:order val="4"/>
          <c:tx>
            <c:strRef>
              <c:f>'Open Doors _ NAFSA comparisons'!$N$1</c:f>
              <c:strCache>
                <c:ptCount val="1"/>
                <c:pt idx="0">
                  <c:v>Intl students USA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strRef>
              <c:f>'Open Doors _ NAFSA comparisons'!$I$2:$I$8</c:f>
              <c:strCache>
                <c:ptCount val="7"/>
                <c:pt idx="0">
                  <c:v>2007-08</c:v>
                </c:pt>
                <c:pt idx="1">
                  <c:v>2008-09</c:v>
                </c:pt>
                <c:pt idx="2">
                  <c:v>2009-10</c:v>
                </c:pt>
                <c:pt idx="3">
                  <c:v>2010-11</c:v>
                </c:pt>
                <c:pt idx="4">
                  <c:v>2011-12</c:v>
                </c:pt>
                <c:pt idx="5">
                  <c:v>2012-13</c:v>
                </c:pt>
                <c:pt idx="6">
                  <c:v>2013-14</c:v>
                </c:pt>
              </c:strCache>
            </c:strRef>
          </c:cat>
          <c:val>
            <c:numRef>
              <c:f>'Open Doors _ NAFSA comparisons'!$N$2:$N$8</c:f>
              <c:numCache>
                <c:formatCode>0%</c:formatCode>
                <c:ptCount val="7"/>
                <c:pt idx="0">
                  <c:v>0</c:v>
                </c:pt>
                <c:pt idx="1">
                  <c:v>7.6644143602568104E-2</c:v>
                </c:pt>
                <c:pt idx="2">
                  <c:v>0.10759452072362356</c:v>
                </c:pt>
                <c:pt idx="3">
                  <c:v>0.15946008768765879</c:v>
                </c:pt>
                <c:pt idx="4">
                  <c:v>0.22553522334703954</c:v>
                </c:pt>
                <c:pt idx="5">
                  <c:v>0.31394265836278967</c:v>
                </c:pt>
                <c:pt idx="6">
                  <c:v>0.4203990028935324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E3EB-4178-94C4-C29AC2246F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55184552"/>
        <c:axId val="255184944"/>
        <c:extLst xmlns:c16r2="http://schemas.microsoft.com/office/drawing/2015/06/chart"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 xmlns:c16r2="http://schemas.microsoft.com/office/drawing/2015/06/chart">
                      <c:ext uri="{02D57815-91ED-43cb-92C2-25804820EDAC}">
                        <c15:formulaRef>
                          <c15:sqref>'Open Doors _ NAFSA comparisons'!$J$1</c15:sqref>
                        </c15:formulaRef>
                      </c:ext>
                    </c:extLst>
                    <c:strCache>
                      <c:ptCount val="1"/>
                      <c:pt idx="0">
                        <c:v>Intl students Oregon State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6r2="http://schemas.microsoft.com/office/drawing/2015/06/chart">
                      <c:ext uri="{02D57815-91ED-43cb-92C2-25804820EDAC}">
                        <c15:formulaRef>
                          <c15:sqref>'Open Doors _ NAFSA comparisons'!$I$2:$I$8</c15:sqref>
                        </c15:formulaRef>
                      </c:ext>
                    </c:extLst>
                    <c:strCache>
                      <c:ptCount val="7"/>
                      <c:pt idx="0">
                        <c:v>2007-08</c:v>
                      </c:pt>
                      <c:pt idx="1">
                        <c:v>2008-09</c:v>
                      </c:pt>
                      <c:pt idx="2">
                        <c:v>2009-10</c:v>
                      </c:pt>
                      <c:pt idx="3">
                        <c:v>2010-11</c:v>
                      </c:pt>
                      <c:pt idx="4">
                        <c:v>2011-12</c:v>
                      </c:pt>
                      <c:pt idx="5">
                        <c:v>2012-13</c:v>
                      </c:pt>
                      <c:pt idx="6">
                        <c:v>2013-14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>
                      <c:ext uri="{02D57815-91ED-43cb-92C2-25804820EDAC}">
                        <c15:formulaRef>
                          <c15:sqref>'Open Doors _ NAFSA comparisons'!$J$2:$J$8</c15:sqref>
                        </c15:formulaRef>
                      </c:ext>
                    </c:extLst>
                    <c:numCache>
                      <c:formatCode>0%</c:formatCode>
                      <c:ptCount val="7"/>
                      <c:pt idx="0">
                        <c:v>0</c:v>
                      </c:pt>
                      <c:pt idx="1">
                        <c:v>0.14936440677966101</c:v>
                      </c:pt>
                      <c:pt idx="2">
                        <c:v>0.44597457627118642</c:v>
                      </c:pt>
                      <c:pt idx="3">
                        <c:v>0.9798728813559322</c:v>
                      </c:pt>
                      <c:pt idx="4">
                        <c:v>1.5699152542372881</c:v>
                      </c:pt>
                      <c:pt idx="5">
                        <c:v>2.2044491525423728</c:v>
                      </c:pt>
                      <c:pt idx="6">
                        <c:v>2.7722457627118646</c:v>
                      </c:pt>
                    </c:numCache>
                  </c:numRef>
                </c:val>
                <c:smooth val="0"/>
                <c:extLst xmlns:c16r2="http://schemas.microsoft.com/office/drawing/2015/06/chart">
                  <c:ext xmlns:c16="http://schemas.microsoft.com/office/drawing/2014/chart" uri="{C3380CC4-5D6E-409C-BE32-E72D297353CC}">
                    <c16:uniqueId val="{00000004-E3EB-4178-94C4-C29AC2246F0D}"/>
                  </c:ext>
                </c:extLst>
              </c15:ser>
            </c15:filteredLineSeries>
            <c15:filteredLineSeries>
              <c15:ser>
                <c:idx val="1"/>
                <c:order val="1"/>
                <c:tx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Open Doors _ NAFSA comparisons'!$K$1</c15:sqref>
                        </c15:formulaRef>
                      </c:ext>
                    </c:extLst>
                    <c:strCache>
                      <c:ptCount val="1"/>
                      <c:pt idx="0">
                        <c:v>Intl students South Florida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Open Doors _ NAFSA comparisons'!$I$2:$I$8</c15:sqref>
                        </c15:formulaRef>
                      </c:ext>
                    </c:extLst>
                    <c:strCache>
                      <c:ptCount val="7"/>
                      <c:pt idx="0">
                        <c:v>2007-08</c:v>
                      </c:pt>
                      <c:pt idx="1">
                        <c:v>2008-09</c:v>
                      </c:pt>
                      <c:pt idx="2">
                        <c:v>2009-10</c:v>
                      </c:pt>
                      <c:pt idx="3">
                        <c:v>2010-11</c:v>
                      </c:pt>
                      <c:pt idx="4">
                        <c:v>2011-12</c:v>
                      </c:pt>
                      <c:pt idx="5">
                        <c:v>2012-13</c:v>
                      </c:pt>
                      <c:pt idx="6">
                        <c:v>2013-14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Open Doors _ NAFSA comparisons'!$K$2:$K$8</c15:sqref>
                        </c15:formulaRef>
                      </c:ext>
                    </c:extLst>
                    <c:numCache>
                      <c:formatCode>0%</c:formatCode>
                      <c:ptCount val="7"/>
                      <c:pt idx="0">
                        <c:v>0</c:v>
                      </c:pt>
                      <c:pt idx="1">
                        <c:v>-3.0546623794212219E-2</c:v>
                      </c:pt>
                      <c:pt idx="2">
                        <c:v>-4.6623794212218649E-2</c:v>
                      </c:pt>
                      <c:pt idx="3">
                        <c:v>0.1045016077170418</c:v>
                      </c:pt>
                      <c:pt idx="4">
                        <c:v>0.27867095391211144</c:v>
                      </c:pt>
                      <c:pt idx="5">
                        <c:v>0.41907824222936763</c:v>
                      </c:pt>
                      <c:pt idx="6">
                        <c:v>0.73204715969989287</c:v>
                      </c:pt>
                    </c:numCache>
                  </c:numRef>
                </c:val>
                <c:smooth val="0"/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05-E3EB-4178-94C4-C29AC2246F0D}"/>
                  </c:ext>
                </c:extLst>
              </c15:ser>
            </c15:filteredLineSeries>
          </c:ext>
        </c:extLst>
      </c:lineChart>
      <c:catAx>
        <c:axId val="255184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5184944"/>
        <c:crosses val="autoZero"/>
        <c:auto val="1"/>
        <c:lblAlgn val="ctr"/>
        <c:lblOffset val="100"/>
        <c:noMultiLvlLbl val="0"/>
      </c:catAx>
      <c:valAx>
        <c:axId val="255184944"/>
        <c:scaling>
          <c:orientation val="minMax"/>
          <c:min val="-0.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51845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rgbClr val="C00000"/>
      </a:solidFill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all 2017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Undergraduate</c:v>
                </c:pt>
                <c:pt idx="1">
                  <c:v>Graduate</c:v>
                </c:pt>
                <c:pt idx="2">
                  <c:v>Non-Degree</c:v>
                </c:pt>
                <c:pt idx="3">
                  <c:v>ELI</c:v>
                </c:pt>
                <c:pt idx="4">
                  <c:v>OP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87</c:v>
                </c:pt>
                <c:pt idx="1">
                  <c:v>268</c:v>
                </c:pt>
                <c:pt idx="2">
                  <c:v>32</c:v>
                </c:pt>
                <c:pt idx="3">
                  <c:v>21</c:v>
                </c:pt>
                <c:pt idx="4">
                  <c:v>15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AAE-4DE8-91BB-5EA139C7E17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61044432"/>
        <c:axId val="261044824"/>
      </c:barChart>
      <c:catAx>
        <c:axId val="2610444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1044824"/>
        <c:crosses val="autoZero"/>
        <c:auto val="1"/>
        <c:lblAlgn val="ctr"/>
        <c:lblOffset val="100"/>
        <c:noMultiLvlLbl val="0"/>
      </c:catAx>
      <c:valAx>
        <c:axId val="2610448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10444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all 2017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India</c:v>
                </c:pt>
                <c:pt idx="1">
                  <c:v>Ghana</c:v>
                </c:pt>
                <c:pt idx="2">
                  <c:v>China</c:v>
                </c:pt>
                <c:pt idx="3">
                  <c:v>Nigeria</c:v>
                </c:pt>
                <c:pt idx="4">
                  <c:v>Canada</c:v>
                </c:pt>
                <c:pt idx="5">
                  <c:v>South Korea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92</c:v>
                </c:pt>
                <c:pt idx="1">
                  <c:v>27</c:v>
                </c:pt>
                <c:pt idx="2">
                  <c:v>26</c:v>
                </c:pt>
                <c:pt idx="3">
                  <c:v>16</c:v>
                </c:pt>
                <c:pt idx="4">
                  <c:v>15</c:v>
                </c:pt>
                <c:pt idx="5">
                  <c:v>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3CB-4B5F-8E52-FD16D22311F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61045608"/>
        <c:axId val="261046000"/>
      </c:barChart>
      <c:catAx>
        <c:axId val="261045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1046000"/>
        <c:crosses val="autoZero"/>
        <c:auto val="1"/>
        <c:lblAlgn val="ctr"/>
        <c:lblOffset val="100"/>
        <c:noMultiLvlLbl val="0"/>
      </c:catAx>
      <c:valAx>
        <c:axId val="2610460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1045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all 2017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MS Information Systems</c:v>
                </c:pt>
                <c:pt idx="1">
                  <c:v>MS Technology</c:v>
                </c:pt>
                <c:pt idx="2">
                  <c:v>MS Applied Economics</c:v>
                </c:pt>
                <c:pt idx="3">
                  <c:v>MBA</c:v>
                </c:pt>
                <c:pt idx="4">
                  <c:v>MS Mathematics</c:v>
                </c:pt>
                <c:pt idx="5">
                  <c:v>MM Music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52</c:v>
                </c:pt>
                <c:pt idx="1">
                  <c:v>34</c:v>
                </c:pt>
                <c:pt idx="2">
                  <c:v>23</c:v>
                </c:pt>
                <c:pt idx="3">
                  <c:v>23</c:v>
                </c:pt>
                <c:pt idx="4">
                  <c:v>20</c:v>
                </c:pt>
                <c:pt idx="5">
                  <c:v>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A4F-4A6D-88D1-A4C8E3E61AF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61046784"/>
        <c:axId val="261047176"/>
      </c:barChart>
      <c:catAx>
        <c:axId val="261046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1047176"/>
        <c:crosses val="autoZero"/>
        <c:auto val="1"/>
        <c:lblAlgn val="ctr"/>
        <c:lblOffset val="100"/>
        <c:noMultiLvlLbl val="0"/>
      </c:catAx>
      <c:valAx>
        <c:axId val="2610471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1046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5E3E33F-7E06-4E53-8F12-65DFA1107A11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744E1EED-C79A-4FDB-AB6D-4056E9B7E91E}">
      <dgm:prSet phldrT="[Text]" custT="1"/>
      <dgm:spPr/>
      <dgm:t>
        <a:bodyPr/>
        <a:lstStyle/>
        <a:p>
          <a:r>
            <a:rPr lang="en-US" sz="2000" dirty="0"/>
            <a:t>Direct Entry</a:t>
          </a:r>
        </a:p>
      </dgm:t>
    </dgm:pt>
    <dgm:pt modelId="{CF9B607F-809F-4661-852C-61368C8F4CBF}" type="parTrans" cxnId="{45FE34A5-1047-47B4-AE76-76112D343EA8}">
      <dgm:prSet/>
      <dgm:spPr/>
      <dgm:t>
        <a:bodyPr/>
        <a:lstStyle/>
        <a:p>
          <a:endParaRPr lang="en-US"/>
        </a:p>
      </dgm:t>
    </dgm:pt>
    <dgm:pt modelId="{E2A47B40-40BE-46CA-9375-CB8723E94098}" type="sibTrans" cxnId="{45FE34A5-1047-47B4-AE76-76112D343EA8}">
      <dgm:prSet/>
      <dgm:spPr/>
      <dgm:t>
        <a:bodyPr/>
        <a:lstStyle/>
        <a:p>
          <a:endParaRPr lang="en-US"/>
        </a:p>
      </dgm:t>
    </dgm:pt>
    <dgm:pt modelId="{F3AC6EC0-1506-4F37-B94D-410B61B326A5}">
      <dgm:prSet phldrT="[Text]"/>
      <dgm:spPr/>
      <dgm:t>
        <a:bodyPr/>
        <a:lstStyle/>
        <a:p>
          <a:r>
            <a:rPr lang="en-US" dirty="0"/>
            <a:t>GPA 2.8</a:t>
          </a:r>
        </a:p>
        <a:p>
          <a:r>
            <a:rPr lang="en-US" dirty="0"/>
            <a:t>TOEFL 79</a:t>
          </a:r>
        </a:p>
        <a:p>
          <a:r>
            <a:rPr lang="en-US" dirty="0"/>
            <a:t>IELTS 6.5</a:t>
          </a:r>
        </a:p>
      </dgm:t>
    </dgm:pt>
    <dgm:pt modelId="{953230BA-04DB-4D4F-BD48-DB16817FE55F}" type="parTrans" cxnId="{5CE318AB-218B-485B-8270-211992B5B1E9}">
      <dgm:prSet/>
      <dgm:spPr/>
      <dgm:t>
        <a:bodyPr/>
        <a:lstStyle/>
        <a:p>
          <a:endParaRPr lang="en-US"/>
        </a:p>
      </dgm:t>
    </dgm:pt>
    <dgm:pt modelId="{5372BDC4-CD9D-48DE-8EA8-9C972B537A86}" type="sibTrans" cxnId="{5CE318AB-218B-485B-8270-211992B5B1E9}">
      <dgm:prSet/>
      <dgm:spPr/>
      <dgm:t>
        <a:bodyPr/>
        <a:lstStyle/>
        <a:p>
          <a:endParaRPr lang="en-US"/>
        </a:p>
      </dgm:t>
    </dgm:pt>
    <dgm:pt modelId="{99D039FE-68F3-472F-AE8A-E973B9E52AB9}">
      <dgm:prSet phldrT="[Text]"/>
      <dgm:spPr/>
      <dgm:t>
        <a:bodyPr/>
        <a:lstStyle/>
        <a:p>
          <a:r>
            <a:rPr lang="en-US" dirty="0"/>
            <a:t>Standard </a:t>
          </a:r>
          <a:r>
            <a:rPr lang="en-US" dirty="0" smtClean="0"/>
            <a:t>courses; direct matriculation</a:t>
          </a:r>
          <a:endParaRPr lang="en-US" dirty="0"/>
        </a:p>
      </dgm:t>
    </dgm:pt>
    <dgm:pt modelId="{3E8F19A8-131B-4F7F-85CC-2160F9AD8646}" type="parTrans" cxnId="{F8B95B78-153D-4A20-B4D3-09CA22C83E7D}">
      <dgm:prSet/>
      <dgm:spPr/>
      <dgm:t>
        <a:bodyPr/>
        <a:lstStyle/>
        <a:p>
          <a:endParaRPr lang="en-US"/>
        </a:p>
      </dgm:t>
    </dgm:pt>
    <dgm:pt modelId="{A624EBAF-9BC8-45D4-A485-F1EADCE1A3B8}" type="sibTrans" cxnId="{F8B95B78-153D-4A20-B4D3-09CA22C83E7D}">
      <dgm:prSet/>
      <dgm:spPr/>
      <dgm:t>
        <a:bodyPr/>
        <a:lstStyle/>
        <a:p>
          <a:endParaRPr lang="en-US"/>
        </a:p>
      </dgm:t>
    </dgm:pt>
    <dgm:pt modelId="{24D0083A-E056-41F9-B8BF-BBB8CEB1ACC7}" type="pres">
      <dgm:prSet presAssocID="{35E3E33F-7E06-4E53-8F12-65DFA1107A11}" presName="Name0" presStyleCnt="0">
        <dgm:presLayoutVars>
          <dgm:dir/>
          <dgm:resizeHandles val="exact"/>
        </dgm:presLayoutVars>
      </dgm:prSet>
      <dgm:spPr/>
    </dgm:pt>
    <dgm:pt modelId="{D5B8AE38-3FA5-4DC1-9CDF-4C85EBA82B38}" type="pres">
      <dgm:prSet presAssocID="{744E1EED-C79A-4FDB-AB6D-4056E9B7E91E}" presName="node" presStyleLbl="node1" presStyleIdx="0" presStyleCnt="3" custScaleX="101154" custScaleY="79464" custLinFactNeighborX="-430" custLinFactNeighborY="-152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57A675-CD82-4C81-8010-AE3F53FD558F}" type="pres">
      <dgm:prSet presAssocID="{E2A47B40-40BE-46CA-9375-CB8723E94098}" presName="sibTrans" presStyleLbl="sibTrans2D1" presStyleIdx="0" presStyleCnt="2"/>
      <dgm:spPr/>
      <dgm:t>
        <a:bodyPr/>
        <a:lstStyle/>
        <a:p>
          <a:endParaRPr lang="en-US"/>
        </a:p>
      </dgm:t>
    </dgm:pt>
    <dgm:pt modelId="{619A507A-6D6E-4C10-922F-FC2E23250B51}" type="pres">
      <dgm:prSet presAssocID="{E2A47B40-40BE-46CA-9375-CB8723E94098}" presName="connectorText" presStyleLbl="sibTrans2D1" presStyleIdx="0" presStyleCnt="2"/>
      <dgm:spPr/>
      <dgm:t>
        <a:bodyPr/>
        <a:lstStyle/>
        <a:p>
          <a:endParaRPr lang="en-US"/>
        </a:p>
      </dgm:t>
    </dgm:pt>
    <dgm:pt modelId="{39387D2B-697A-4D13-8E13-7DA20AC1BE82}" type="pres">
      <dgm:prSet presAssocID="{F3AC6EC0-1506-4F37-B94D-410B61B326A5}" presName="node" presStyleLbl="node1" presStyleIdx="1" presStyleCnt="3" custScaleY="8108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15A0E37-AFCA-46BF-A517-3B8C1529773B}" type="pres">
      <dgm:prSet presAssocID="{5372BDC4-CD9D-48DE-8EA8-9C972B537A86}" presName="sibTrans" presStyleLbl="sibTrans2D1" presStyleIdx="1" presStyleCnt="2"/>
      <dgm:spPr/>
      <dgm:t>
        <a:bodyPr/>
        <a:lstStyle/>
        <a:p>
          <a:endParaRPr lang="en-US"/>
        </a:p>
      </dgm:t>
    </dgm:pt>
    <dgm:pt modelId="{3693602B-62A2-4059-B027-54956660736F}" type="pres">
      <dgm:prSet presAssocID="{5372BDC4-CD9D-48DE-8EA8-9C972B537A86}" presName="connectorText" presStyleLbl="sibTrans2D1" presStyleIdx="1" presStyleCnt="2"/>
      <dgm:spPr/>
      <dgm:t>
        <a:bodyPr/>
        <a:lstStyle/>
        <a:p>
          <a:endParaRPr lang="en-US"/>
        </a:p>
      </dgm:t>
    </dgm:pt>
    <dgm:pt modelId="{A25F00BB-5EF5-4A47-9089-B3260C3A1E65}" type="pres">
      <dgm:prSet presAssocID="{99D039FE-68F3-472F-AE8A-E973B9E52AB9}" presName="node" presStyleLbl="node1" presStyleIdx="2" presStyleCnt="3" custScaleY="752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AE65968-A0EF-435E-A0ED-C630B943EFE9}" type="presOf" srcId="{35E3E33F-7E06-4E53-8F12-65DFA1107A11}" destId="{24D0083A-E056-41F9-B8BF-BBB8CEB1ACC7}" srcOrd="0" destOrd="0" presId="urn:microsoft.com/office/officeart/2005/8/layout/process1"/>
    <dgm:cxn modelId="{7DAD49F1-C1DB-431D-88AD-2448C4D58465}" type="presOf" srcId="{5372BDC4-CD9D-48DE-8EA8-9C972B537A86}" destId="{3693602B-62A2-4059-B027-54956660736F}" srcOrd="1" destOrd="0" presId="urn:microsoft.com/office/officeart/2005/8/layout/process1"/>
    <dgm:cxn modelId="{905F438C-AC56-41FF-A0B6-8BC24497F762}" type="presOf" srcId="{744E1EED-C79A-4FDB-AB6D-4056E9B7E91E}" destId="{D5B8AE38-3FA5-4DC1-9CDF-4C85EBA82B38}" srcOrd="0" destOrd="0" presId="urn:microsoft.com/office/officeart/2005/8/layout/process1"/>
    <dgm:cxn modelId="{45FE34A5-1047-47B4-AE76-76112D343EA8}" srcId="{35E3E33F-7E06-4E53-8F12-65DFA1107A11}" destId="{744E1EED-C79A-4FDB-AB6D-4056E9B7E91E}" srcOrd="0" destOrd="0" parTransId="{CF9B607F-809F-4661-852C-61368C8F4CBF}" sibTransId="{E2A47B40-40BE-46CA-9375-CB8723E94098}"/>
    <dgm:cxn modelId="{D8806610-C58D-41A7-82F5-D54EE6903F8E}" type="presOf" srcId="{E2A47B40-40BE-46CA-9375-CB8723E94098}" destId="{619A507A-6D6E-4C10-922F-FC2E23250B51}" srcOrd="1" destOrd="0" presId="urn:microsoft.com/office/officeart/2005/8/layout/process1"/>
    <dgm:cxn modelId="{1354D887-CF0E-4316-9B4C-4B1663F44689}" type="presOf" srcId="{99D039FE-68F3-472F-AE8A-E973B9E52AB9}" destId="{A25F00BB-5EF5-4A47-9089-B3260C3A1E65}" srcOrd="0" destOrd="0" presId="urn:microsoft.com/office/officeart/2005/8/layout/process1"/>
    <dgm:cxn modelId="{A2CE332A-7158-4C0E-BBEC-C5F9BD516173}" type="presOf" srcId="{5372BDC4-CD9D-48DE-8EA8-9C972B537A86}" destId="{C15A0E37-AFCA-46BF-A517-3B8C1529773B}" srcOrd="0" destOrd="0" presId="urn:microsoft.com/office/officeart/2005/8/layout/process1"/>
    <dgm:cxn modelId="{F8B95B78-153D-4A20-B4D3-09CA22C83E7D}" srcId="{35E3E33F-7E06-4E53-8F12-65DFA1107A11}" destId="{99D039FE-68F3-472F-AE8A-E973B9E52AB9}" srcOrd="2" destOrd="0" parTransId="{3E8F19A8-131B-4F7F-85CC-2160F9AD8646}" sibTransId="{A624EBAF-9BC8-45D4-A485-F1EADCE1A3B8}"/>
    <dgm:cxn modelId="{2AAE8EFD-2756-44B0-8F3B-27B94F9777B6}" type="presOf" srcId="{F3AC6EC0-1506-4F37-B94D-410B61B326A5}" destId="{39387D2B-697A-4D13-8E13-7DA20AC1BE82}" srcOrd="0" destOrd="0" presId="urn:microsoft.com/office/officeart/2005/8/layout/process1"/>
    <dgm:cxn modelId="{99F08555-743F-4E60-8B61-C7790EC528C1}" type="presOf" srcId="{E2A47B40-40BE-46CA-9375-CB8723E94098}" destId="{CF57A675-CD82-4C81-8010-AE3F53FD558F}" srcOrd="0" destOrd="0" presId="urn:microsoft.com/office/officeart/2005/8/layout/process1"/>
    <dgm:cxn modelId="{5CE318AB-218B-485B-8270-211992B5B1E9}" srcId="{35E3E33F-7E06-4E53-8F12-65DFA1107A11}" destId="{F3AC6EC0-1506-4F37-B94D-410B61B326A5}" srcOrd="1" destOrd="0" parTransId="{953230BA-04DB-4D4F-BD48-DB16817FE55F}" sibTransId="{5372BDC4-CD9D-48DE-8EA8-9C972B537A86}"/>
    <dgm:cxn modelId="{D584D64F-54FF-48FC-943F-0B57F997311A}" type="presParOf" srcId="{24D0083A-E056-41F9-B8BF-BBB8CEB1ACC7}" destId="{D5B8AE38-3FA5-4DC1-9CDF-4C85EBA82B38}" srcOrd="0" destOrd="0" presId="urn:microsoft.com/office/officeart/2005/8/layout/process1"/>
    <dgm:cxn modelId="{949B537A-9163-4DC2-A7DB-C6CCD92B11BE}" type="presParOf" srcId="{24D0083A-E056-41F9-B8BF-BBB8CEB1ACC7}" destId="{CF57A675-CD82-4C81-8010-AE3F53FD558F}" srcOrd="1" destOrd="0" presId="urn:microsoft.com/office/officeart/2005/8/layout/process1"/>
    <dgm:cxn modelId="{D34EDA58-6569-42C9-BA9E-853E23E1C189}" type="presParOf" srcId="{CF57A675-CD82-4C81-8010-AE3F53FD558F}" destId="{619A507A-6D6E-4C10-922F-FC2E23250B51}" srcOrd="0" destOrd="0" presId="urn:microsoft.com/office/officeart/2005/8/layout/process1"/>
    <dgm:cxn modelId="{9BB759D5-122C-4188-9F95-57F2FD643FD5}" type="presParOf" srcId="{24D0083A-E056-41F9-B8BF-BBB8CEB1ACC7}" destId="{39387D2B-697A-4D13-8E13-7DA20AC1BE82}" srcOrd="2" destOrd="0" presId="urn:microsoft.com/office/officeart/2005/8/layout/process1"/>
    <dgm:cxn modelId="{2ECACE47-C329-4E76-908E-E44B1A9B0BEC}" type="presParOf" srcId="{24D0083A-E056-41F9-B8BF-BBB8CEB1ACC7}" destId="{C15A0E37-AFCA-46BF-A517-3B8C1529773B}" srcOrd="3" destOrd="0" presId="urn:microsoft.com/office/officeart/2005/8/layout/process1"/>
    <dgm:cxn modelId="{C0D50240-311C-4D29-8D2A-C605C70A089F}" type="presParOf" srcId="{C15A0E37-AFCA-46BF-A517-3B8C1529773B}" destId="{3693602B-62A2-4059-B027-54956660736F}" srcOrd="0" destOrd="0" presId="urn:microsoft.com/office/officeart/2005/8/layout/process1"/>
    <dgm:cxn modelId="{436BA4A8-0B68-4365-BE69-A528CB09F758}" type="presParOf" srcId="{24D0083A-E056-41F9-B8BF-BBB8CEB1ACC7}" destId="{A25F00BB-5EF5-4A47-9089-B3260C3A1E65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5E3E33F-7E06-4E53-8F12-65DFA1107A11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744E1EED-C79A-4FDB-AB6D-4056E9B7E91E}">
      <dgm:prSet phldrT="[Text]" custT="1"/>
      <dgm:spPr/>
      <dgm:t>
        <a:bodyPr/>
        <a:lstStyle/>
        <a:p>
          <a:r>
            <a:rPr lang="en-US" sz="2000" dirty="0"/>
            <a:t>Accelerated </a:t>
          </a:r>
          <a:r>
            <a:rPr lang="en-US" sz="2000" dirty="0" smtClean="0"/>
            <a:t>Pathway </a:t>
          </a:r>
        </a:p>
        <a:p>
          <a:r>
            <a:rPr lang="en-US" sz="2000" dirty="0" smtClean="0"/>
            <a:t>(1 semester)</a:t>
          </a:r>
          <a:endParaRPr lang="en-US" sz="2000" dirty="0"/>
        </a:p>
      </dgm:t>
    </dgm:pt>
    <dgm:pt modelId="{CF9B607F-809F-4661-852C-61368C8F4CBF}" type="parTrans" cxnId="{45FE34A5-1047-47B4-AE76-76112D343EA8}">
      <dgm:prSet/>
      <dgm:spPr/>
      <dgm:t>
        <a:bodyPr/>
        <a:lstStyle/>
        <a:p>
          <a:endParaRPr lang="en-US"/>
        </a:p>
      </dgm:t>
    </dgm:pt>
    <dgm:pt modelId="{E2A47B40-40BE-46CA-9375-CB8723E94098}" type="sibTrans" cxnId="{45FE34A5-1047-47B4-AE76-76112D343EA8}">
      <dgm:prSet/>
      <dgm:spPr/>
      <dgm:t>
        <a:bodyPr/>
        <a:lstStyle/>
        <a:p>
          <a:endParaRPr lang="en-US"/>
        </a:p>
      </dgm:t>
    </dgm:pt>
    <dgm:pt modelId="{F3AC6EC0-1506-4F37-B94D-410B61B326A5}">
      <dgm:prSet phldrT="[Text]" custT="1"/>
      <dgm:spPr/>
      <dgm:t>
        <a:bodyPr/>
        <a:lstStyle/>
        <a:p>
          <a:r>
            <a:rPr lang="en-US" sz="2000" dirty="0"/>
            <a:t>GPA </a:t>
          </a:r>
          <a:r>
            <a:rPr lang="en-US" sz="2000" dirty="0" smtClean="0"/>
            <a:t>2.25</a:t>
          </a:r>
          <a:endParaRPr lang="en-US" sz="2000" dirty="0"/>
        </a:p>
        <a:p>
          <a:r>
            <a:rPr lang="en-US" sz="2000" dirty="0"/>
            <a:t>TOEFL 79</a:t>
          </a:r>
        </a:p>
        <a:p>
          <a:r>
            <a:rPr lang="en-US" sz="2000" dirty="0"/>
            <a:t>IELTS 6.5</a:t>
          </a:r>
        </a:p>
      </dgm:t>
    </dgm:pt>
    <dgm:pt modelId="{953230BA-04DB-4D4F-BD48-DB16817FE55F}" type="parTrans" cxnId="{5CE318AB-218B-485B-8270-211992B5B1E9}">
      <dgm:prSet/>
      <dgm:spPr/>
      <dgm:t>
        <a:bodyPr/>
        <a:lstStyle/>
        <a:p>
          <a:endParaRPr lang="en-US"/>
        </a:p>
      </dgm:t>
    </dgm:pt>
    <dgm:pt modelId="{5372BDC4-CD9D-48DE-8EA8-9C972B537A86}" type="sibTrans" cxnId="{5CE318AB-218B-485B-8270-211992B5B1E9}">
      <dgm:prSet/>
      <dgm:spPr/>
      <dgm:t>
        <a:bodyPr/>
        <a:lstStyle/>
        <a:p>
          <a:endParaRPr lang="en-US"/>
        </a:p>
      </dgm:t>
    </dgm:pt>
    <dgm:pt modelId="{99D039FE-68F3-472F-AE8A-E973B9E52AB9}">
      <dgm:prSet phldrT="[Text]"/>
      <dgm:spPr/>
      <dgm:t>
        <a:bodyPr/>
        <a:lstStyle/>
        <a:p>
          <a:r>
            <a:rPr lang="en-US" dirty="0"/>
            <a:t>1 semester ELI (Academic ENG, 3 </a:t>
          </a:r>
          <a:r>
            <a:rPr lang="en-US" dirty="0" err="1"/>
            <a:t>hrs</a:t>
          </a:r>
          <a:r>
            <a:rPr lang="en-US" dirty="0"/>
            <a:t>)</a:t>
          </a:r>
        </a:p>
        <a:p>
          <a:r>
            <a:rPr lang="en-US" dirty="0"/>
            <a:t>6-9 hours courses</a:t>
          </a:r>
        </a:p>
      </dgm:t>
    </dgm:pt>
    <dgm:pt modelId="{3E8F19A8-131B-4F7F-85CC-2160F9AD8646}" type="parTrans" cxnId="{F8B95B78-153D-4A20-B4D3-09CA22C83E7D}">
      <dgm:prSet/>
      <dgm:spPr/>
      <dgm:t>
        <a:bodyPr/>
        <a:lstStyle/>
        <a:p>
          <a:endParaRPr lang="en-US"/>
        </a:p>
      </dgm:t>
    </dgm:pt>
    <dgm:pt modelId="{A624EBAF-9BC8-45D4-A485-F1EADCE1A3B8}" type="sibTrans" cxnId="{F8B95B78-153D-4A20-B4D3-09CA22C83E7D}">
      <dgm:prSet/>
      <dgm:spPr/>
      <dgm:t>
        <a:bodyPr/>
        <a:lstStyle/>
        <a:p>
          <a:endParaRPr lang="en-US"/>
        </a:p>
      </dgm:t>
    </dgm:pt>
    <dgm:pt modelId="{24D0083A-E056-41F9-B8BF-BBB8CEB1ACC7}" type="pres">
      <dgm:prSet presAssocID="{35E3E33F-7E06-4E53-8F12-65DFA1107A11}" presName="Name0" presStyleCnt="0">
        <dgm:presLayoutVars>
          <dgm:dir/>
          <dgm:resizeHandles val="exact"/>
        </dgm:presLayoutVars>
      </dgm:prSet>
      <dgm:spPr/>
    </dgm:pt>
    <dgm:pt modelId="{D5B8AE38-3FA5-4DC1-9CDF-4C85EBA82B38}" type="pres">
      <dgm:prSet presAssocID="{744E1EED-C79A-4FDB-AB6D-4056E9B7E91E}" presName="node" presStyleLbl="node1" presStyleIdx="0" presStyleCnt="3" custScaleY="83495" custLinFactNeighborX="-65106" custLinFactNeighborY="-35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57A675-CD82-4C81-8010-AE3F53FD558F}" type="pres">
      <dgm:prSet presAssocID="{E2A47B40-40BE-46CA-9375-CB8723E94098}" presName="sibTrans" presStyleLbl="sibTrans2D1" presStyleIdx="0" presStyleCnt="2"/>
      <dgm:spPr/>
      <dgm:t>
        <a:bodyPr/>
        <a:lstStyle/>
        <a:p>
          <a:endParaRPr lang="en-US"/>
        </a:p>
      </dgm:t>
    </dgm:pt>
    <dgm:pt modelId="{619A507A-6D6E-4C10-922F-FC2E23250B51}" type="pres">
      <dgm:prSet presAssocID="{E2A47B40-40BE-46CA-9375-CB8723E94098}" presName="connectorText" presStyleLbl="sibTrans2D1" presStyleIdx="0" presStyleCnt="2"/>
      <dgm:spPr/>
      <dgm:t>
        <a:bodyPr/>
        <a:lstStyle/>
        <a:p>
          <a:endParaRPr lang="en-US"/>
        </a:p>
      </dgm:t>
    </dgm:pt>
    <dgm:pt modelId="{39387D2B-697A-4D13-8E13-7DA20AC1BE82}" type="pres">
      <dgm:prSet presAssocID="{F3AC6EC0-1506-4F37-B94D-410B61B326A5}" presName="node" presStyleLbl="node1" presStyleIdx="1" presStyleCnt="3" custScaleY="7414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15A0E37-AFCA-46BF-A517-3B8C1529773B}" type="pres">
      <dgm:prSet presAssocID="{5372BDC4-CD9D-48DE-8EA8-9C972B537A86}" presName="sibTrans" presStyleLbl="sibTrans2D1" presStyleIdx="1" presStyleCnt="2"/>
      <dgm:spPr/>
      <dgm:t>
        <a:bodyPr/>
        <a:lstStyle/>
        <a:p>
          <a:endParaRPr lang="en-US"/>
        </a:p>
      </dgm:t>
    </dgm:pt>
    <dgm:pt modelId="{3693602B-62A2-4059-B027-54956660736F}" type="pres">
      <dgm:prSet presAssocID="{5372BDC4-CD9D-48DE-8EA8-9C972B537A86}" presName="connectorText" presStyleLbl="sibTrans2D1" presStyleIdx="1" presStyleCnt="2"/>
      <dgm:spPr/>
      <dgm:t>
        <a:bodyPr/>
        <a:lstStyle/>
        <a:p>
          <a:endParaRPr lang="en-US"/>
        </a:p>
      </dgm:t>
    </dgm:pt>
    <dgm:pt modelId="{A25F00BB-5EF5-4A47-9089-B3260C3A1E65}" type="pres">
      <dgm:prSet presAssocID="{99D039FE-68F3-472F-AE8A-E973B9E52AB9}" presName="node" presStyleLbl="node1" presStyleIdx="2" presStyleCnt="3" custScaleY="7182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0BA9926-EB26-4EA9-8CB9-6ED67E8FD1F7}" type="presOf" srcId="{5372BDC4-CD9D-48DE-8EA8-9C972B537A86}" destId="{3693602B-62A2-4059-B027-54956660736F}" srcOrd="1" destOrd="0" presId="urn:microsoft.com/office/officeart/2005/8/layout/process1"/>
    <dgm:cxn modelId="{C1C7F14B-738A-4872-A7E9-54EAB2DE31E2}" type="presOf" srcId="{99D039FE-68F3-472F-AE8A-E973B9E52AB9}" destId="{A25F00BB-5EF5-4A47-9089-B3260C3A1E65}" srcOrd="0" destOrd="0" presId="urn:microsoft.com/office/officeart/2005/8/layout/process1"/>
    <dgm:cxn modelId="{45FE34A5-1047-47B4-AE76-76112D343EA8}" srcId="{35E3E33F-7E06-4E53-8F12-65DFA1107A11}" destId="{744E1EED-C79A-4FDB-AB6D-4056E9B7E91E}" srcOrd="0" destOrd="0" parTransId="{CF9B607F-809F-4661-852C-61368C8F4CBF}" sibTransId="{E2A47B40-40BE-46CA-9375-CB8723E94098}"/>
    <dgm:cxn modelId="{2942BB13-D098-40FD-A7D9-FEBDC0FD8832}" type="presOf" srcId="{5372BDC4-CD9D-48DE-8EA8-9C972B537A86}" destId="{C15A0E37-AFCA-46BF-A517-3B8C1529773B}" srcOrd="0" destOrd="0" presId="urn:microsoft.com/office/officeart/2005/8/layout/process1"/>
    <dgm:cxn modelId="{1F24DC85-5EB6-4AB0-9386-18B10AC9ED56}" type="presOf" srcId="{35E3E33F-7E06-4E53-8F12-65DFA1107A11}" destId="{24D0083A-E056-41F9-B8BF-BBB8CEB1ACC7}" srcOrd="0" destOrd="0" presId="urn:microsoft.com/office/officeart/2005/8/layout/process1"/>
    <dgm:cxn modelId="{F8B95B78-153D-4A20-B4D3-09CA22C83E7D}" srcId="{35E3E33F-7E06-4E53-8F12-65DFA1107A11}" destId="{99D039FE-68F3-472F-AE8A-E973B9E52AB9}" srcOrd="2" destOrd="0" parTransId="{3E8F19A8-131B-4F7F-85CC-2160F9AD8646}" sibTransId="{A624EBAF-9BC8-45D4-A485-F1EADCE1A3B8}"/>
    <dgm:cxn modelId="{9DD3AC8B-8131-4B13-8E79-64B47FE90F3F}" type="presOf" srcId="{744E1EED-C79A-4FDB-AB6D-4056E9B7E91E}" destId="{D5B8AE38-3FA5-4DC1-9CDF-4C85EBA82B38}" srcOrd="0" destOrd="0" presId="urn:microsoft.com/office/officeart/2005/8/layout/process1"/>
    <dgm:cxn modelId="{9708FED7-97E1-4987-B1C6-4F6493D21ABC}" type="presOf" srcId="{E2A47B40-40BE-46CA-9375-CB8723E94098}" destId="{CF57A675-CD82-4C81-8010-AE3F53FD558F}" srcOrd="0" destOrd="0" presId="urn:microsoft.com/office/officeart/2005/8/layout/process1"/>
    <dgm:cxn modelId="{5CE318AB-218B-485B-8270-211992B5B1E9}" srcId="{35E3E33F-7E06-4E53-8F12-65DFA1107A11}" destId="{F3AC6EC0-1506-4F37-B94D-410B61B326A5}" srcOrd="1" destOrd="0" parTransId="{953230BA-04DB-4D4F-BD48-DB16817FE55F}" sibTransId="{5372BDC4-CD9D-48DE-8EA8-9C972B537A86}"/>
    <dgm:cxn modelId="{646F2E65-152E-4A5B-83C2-18D68CCAFA7B}" type="presOf" srcId="{F3AC6EC0-1506-4F37-B94D-410B61B326A5}" destId="{39387D2B-697A-4D13-8E13-7DA20AC1BE82}" srcOrd="0" destOrd="0" presId="urn:microsoft.com/office/officeart/2005/8/layout/process1"/>
    <dgm:cxn modelId="{F834EF3B-D109-4D7A-9961-A7C7B574FCF9}" type="presOf" srcId="{E2A47B40-40BE-46CA-9375-CB8723E94098}" destId="{619A507A-6D6E-4C10-922F-FC2E23250B51}" srcOrd="1" destOrd="0" presId="urn:microsoft.com/office/officeart/2005/8/layout/process1"/>
    <dgm:cxn modelId="{A220F228-023A-4F47-A0A5-4B35607AF3F5}" type="presParOf" srcId="{24D0083A-E056-41F9-B8BF-BBB8CEB1ACC7}" destId="{D5B8AE38-3FA5-4DC1-9CDF-4C85EBA82B38}" srcOrd="0" destOrd="0" presId="urn:microsoft.com/office/officeart/2005/8/layout/process1"/>
    <dgm:cxn modelId="{6759466E-C372-4BBF-B36B-B172742015CB}" type="presParOf" srcId="{24D0083A-E056-41F9-B8BF-BBB8CEB1ACC7}" destId="{CF57A675-CD82-4C81-8010-AE3F53FD558F}" srcOrd="1" destOrd="0" presId="urn:microsoft.com/office/officeart/2005/8/layout/process1"/>
    <dgm:cxn modelId="{1C37E7F6-B579-4DB8-878A-04E7E2A5ECAA}" type="presParOf" srcId="{CF57A675-CD82-4C81-8010-AE3F53FD558F}" destId="{619A507A-6D6E-4C10-922F-FC2E23250B51}" srcOrd="0" destOrd="0" presId="urn:microsoft.com/office/officeart/2005/8/layout/process1"/>
    <dgm:cxn modelId="{F0747D0A-FFBD-48A9-9C17-F81DF836D2FF}" type="presParOf" srcId="{24D0083A-E056-41F9-B8BF-BBB8CEB1ACC7}" destId="{39387D2B-697A-4D13-8E13-7DA20AC1BE82}" srcOrd="2" destOrd="0" presId="urn:microsoft.com/office/officeart/2005/8/layout/process1"/>
    <dgm:cxn modelId="{1B887EDB-3358-4F59-B716-EC0DD926F5DF}" type="presParOf" srcId="{24D0083A-E056-41F9-B8BF-BBB8CEB1ACC7}" destId="{C15A0E37-AFCA-46BF-A517-3B8C1529773B}" srcOrd="3" destOrd="0" presId="urn:microsoft.com/office/officeart/2005/8/layout/process1"/>
    <dgm:cxn modelId="{E5D4F6E4-A971-4B11-B033-16E9329291D1}" type="presParOf" srcId="{C15A0E37-AFCA-46BF-A517-3B8C1529773B}" destId="{3693602B-62A2-4059-B027-54956660736F}" srcOrd="0" destOrd="0" presId="urn:microsoft.com/office/officeart/2005/8/layout/process1"/>
    <dgm:cxn modelId="{F41CC8C7-B71C-4F66-BFEA-352882A570E0}" type="presParOf" srcId="{24D0083A-E056-41F9-B8BF-BBB8CEB1ACC7}" destId="{A25F00BB-5EF5-4A47-9089-B3260C3A1E65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5E3E33F-7E06-4E53-8F12-65DFA1107A11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744E1EED-C79A-4FDB-AB6D-4056E9B7E91E}">
      <dgm:prSet phldrT="[Text]" custT="1"/>
      <dgm:spPr/>
      <dgm:t>
        <a:bodyPr/>
        <a:lstStyle/>
        <a:p>
          <a:r>
            <a:rPr lang="en-US" sz="2000" dirty="0"/>
            <a:t>Standard </a:t>
          </a:r>
          <a:r>
            <a:rPr lang="en-US" sz="2000" dirty="0" smtClean="0"/>
            <a:t>Pathway </a:t>
          </a:r>
        </a:p>
        <a:p>
          <a:r>
            <a:rPr lang="en-US" sz="2000" dirty="0" smtClean="0"/>
            <a:t>(2 semesters)</a:t>
          </a:r>
          <a:endParaRPr lang="en-US" sz="2000" dirty="0"/>
        </a:p>
      </dgm:t>
    </dgm:pt>
    <dgm:pt modelId="{CF9B607F-809F-4661-852C-61368C8F4CBF}" type="parTrans" cxnId="{45FE34A5-1047-47B4-AE76-76112D343EA8}">
      <dgm:prSet/>
      <dgm:spPr/>
      <dgm:t>
        <a:bodyPr/>
        <a:lstStyle/>
        <a:p>
          <a:endParaRPr lang="en-US"/>
        </a:p>
      </dgm:t>
    </dgm:pt>
    <dgm:pt modelId="{E2A47B40-40BE-46CA-9375-CB8723E94098}" type="sibTrans" cxnId="{45FE34A5-1047-47B4-AE76-76112D343EA8}">
      <dgm:prSet/>
      <dgm:spPr/>
      <dgm:t>
        <a:bodyPr/>
        <a:lstStyle/>
        <a:p>
          <a:endParaRPr lang="en-US"/>
        </a:p>
      </dgm:t>
    </dgm:pt>
    <dgm:pt modelId="{F3AC6EC0-1506-4F37-B94D-410B61B326A5}">
      <dgm:prSet phldrT="[Text]" custT="1"/>
      <dgm:spPr/>
      <dgm:t>
        <a:bodyPr/>
        <a:lstStyle/>
        <a:p>
          <a:r>
            <a:rPr lang="en-US" sz="2000" dirty="0"/>
            <a:t>GPA </a:t>
          </a:r>
          <a:r>
            <a:rPr lang="en-US" sz="2000" dirty="0" smtClean="0"/>
            <a:t>2.25</a:t>
          </a:r>
          <a:endParaRPr lang="en-US" sz="2000" dirty="0"/>
        </a:p>
        <a:p>
          <a:r>
            <a:rPr lang="en-US" sz="2000" dirty="0"/>
            <a:t>TOEFL 65</a:t>
          </a:r>
        </a:p>
        <a:p>
          <a:r>
            <a:rPr lang="en-US" sz="2000" dirty="0"/>
            <a:t>IELTS 5.5</a:t>
          </a:r>
        </a:p>
      </dgm:t>
    </dgm:pt>
    <dgm:pt modelId="{953230BA-04DB-4D4F-BD48-DB16817FE55F}" type="parTrans" cxnId="{5CE318AB-218B-485B-8270-211992B5B1E9}">
      <dgm:prSet/>
      <dgm:spPr/>
      <dgm:t>
        <a:bodyPr/>
        <a:lstStyle/>
        <a:p>
          <a:endParaRPr lang="en-US"/>
        </a:p>
      </dgm:t>
    </dgm:pt>
    <dgm:pt modelId="{5372BDC4-CD9D-48DE-8EA8-9C972B537A86}" type="sibTrans" cxnId="{5CE318AB-218B-485B-8270-211992B5B1E9}">
      <dgm:prSet/>
      <dgm:spPr/>
      <dgm:t>
        <a:bodyPr/>
        <a:lstStyle/>
        <a:p>
          <a:endParaRPr lang="en-US"/>
        </a:p>
      </dgm:t>
    </dgm:pt>
    <dgm:pt modelId="{99D039FE-68F3-472F-AE8A-E973B9E52AB9}">
      <dgm:prSet phldrT="[Text]"/>
      <dgm:spPr/>
      <dgm:t>
        <a:bodyPr/>
        <a:lstStyle/>
        <a:p>
          <a:r>
            <a:rPr lang="en-US" dirty="0"/>
            <a:t>2 semester ELI (Academic ENG, 6 </a:t>
          </a:r>
          <a:r>
            <a:rPr lang="en-US" dirty="0" err="1"/>
            <a:t>hrs</a:t>
          </a:r>
          <a:r>
            <a:rPr lang="en-US" dirty="0"/>
            <a:t>)</a:t>
          </a:r>
        </a:p>
        <a:p>
          <a:r>
            <a:rPr lang="en-US" dirty="0"/>
            <a:t>6-9 hours courses</a:t>
          </a:r>
        </a:p>
      </dgm:t>
    </dgm:pt>
    <dgm:pt modelId="{3E8F19A8-131B-4F7F-85CC-2160F9AD8646}" type="parTrans" cxnId="{F8B95B78-153D-4A20-B4D3-09CA22C83E7D}">
      <dgm:prSet/>
      <dgm:spPr/>
      <dgm:t>
        <a:bodyPr/>
        <a:lstStyle/>
        <a:p>
          <a:endParaRPr lang="en-US"/>
        </a:p>
      </dgm:t>
    </dgm:pt>
    <dgm:pt modelId="{A624EBAF-9BC8-45D4-A485-F1EADCE1A3B8}" type="sibTrans" cxnId="{F8B95B78-153D-4A20-B4D3-09CA22C83E7D}">
      <dgm:prSet/>
      <dgm:spPr/>
      <dgm:t>
        <a:bodyPr/>
        <a:lstStyle/>
        <a:p>
          <a:endParaRPr lang="en-US"/>
        </a:p>
      </dgm:t>
    </dgm:pt>
    <dgm:pt modelId="{24D0083A-E056-41F9-B8BF-BBB8CEB1ACC7}" type="pres">
      <dgm:prSet presAssocID="{35E3E33F-7E06-4E53-8F12-65DFA1107A11}" presName="Name0" presStyleCnt="0">
        <dgm:presLayoutVars>
          <dgm:dir/>
          <dgm:resizeHandles val="exact"/>
        </dgm:presLayoutVars>
      </dgm:prSet>
      <dgm:spPr/>
    </dgm:pt>
    <dgm:pt modelId="{D5B8AE38-3FA5-4DC1-9CDF-4C85EBA82B38}" type="pres">
      <dgm:prSet presAssocID="{744E1EED-C79A-4FDB-AB6D-4056E9B7E91E}" presName="node" presStyleLbl="node1" presStyleIdx="0" presStyleCnt="3" custScaleX="102613" custScaleY="8072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57A675-CD82-4C81-8010-AE3F53FD558F}" type="pres">
      <dgm:prSet presAssocID="{E2A47B40-40BE-46CA-9375-CB8723E94098}" presName="sibTrans" presStyleLbl="sibTrans2D1" presStyleIdx="0" presStyleCnt="2"/>
      <dgm:spPr/>
      <dgm:t>
        <a:bodyPr/>
        <a:lstStyle/>
        <a:p>
          <a:endParaRPr lang="en-US"/>
        </a:p>
      </dgm:t>
    </dgm:pt>
    <dgm:pt modelId="{619A507A-6D6E-4C10-922F-FC2E23250B51}" type="pres">
      <dgm:prSet presAssocID="{E2A47B40-40BE-46CA-9375-CB8723E94098}" presName="connectorText" presStyleLbl="sibTrans2D1" presStyleIdx="0" presStyleCnt="2"/>
      <dgm:spPr/>
      <dgm:t>
        <a:bodyPr/>
        <a:lstStyle/>
        <a:p>
          <a:endParaRPr lang="en-US"/>
        </a:p>
      </dgm:t>
    </dgm:pt>
    <dgm:pt modelId="{39387D2B-697A-4D13-8E13-7DA20AC1BE82}" type="pres">
      <dgm:prSet presAssocID="{F3AC6EC0-1506-4F37-B94D-410B61B326A5}" presName="node" presStyleLbl="node1" presStyleIdx="1" presStyleCnt="3" custScaleY="7838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15A0E37-AFCA-46BF-A517-3B8C1529773B}" type="pres">
      <dgm:prSet presAssocID="{5372BDC4-CD9D-48DE-8EA8-9C972B537A86}" presName="sibTrans" presStyleLbl="sibTrans2D1" presStyleIdx="1" presStyleCnt="2"/>
      <dgm:spPr/>
      <dgm:t>
        <a:bodyPr/>
        <a:lstStyle/>
        <a:p>
          <a:endParaRPr lang="en-US"/>
        </a:p>
      </dgm:t>
    </dgm:pt>
    <dgm:pt modelId="{3693602B-62A2-4059-B027-54956660736F}" type="pres">
      <dgm:prSet presAssocID="{5372BDC4-CD9D-48DE-8EA8-9C972B537A86}" presName="connectorText" presStyleLbl="sibTrans2D1" presStyleIdx="1" presStyleCnt="2"/>
      <dgm:spPr/>
      <dgm:t>
        <a:bodyPr/>
        <a:lstStyle/>
        <a:p>
          <a:endParaRPr lang="en-US"/>
        </a:p>
      </dgm:t>
    </dgm:pt>
    <dgm:pt modelId="{A25F00BB-5EF5-4A47-9089-B3260C3A1E65}" type="pres">
      <dgm:prSet presAssocID="{99D039FE-68F3-472F-AE8A-E973B9E52AB9}" presName="node" presStyleLbl="node1" presStyleIdx="2" presStyleCnt="3" custScaleY="7487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B704806-A9E8-4CA4-9C71-DF855002613D}" type="presOf" srcId="{F3AC6EC0-1506-4F37-B94D-410B61B326A5}" destId="{39387D2B-697A-4D13-8E13-7DA20AC1BE82}" srcOrd="0" destOrd="0" presId="urn:microsoft.com/office/officeart/2005/8/layout/process1"/>
    <dgm:cxn modelId="{9AD7DEAB-37CD-4896-98E8-9ACB86D2F036}" type="presOf" srcId="{E2A47B40-40BE-46CA-9375-CB8723E94098}" destId="{CF57A675-CD82-4C81-8010-AE3F53FD558F}" srcOrd="0" destOrd="0" presId="urn:microsoft.com/office/officeart/2005/8/layout/process1"/>
    <dgm:cxn modelId="{45FE34A5-1047-47B4-AE76-76112D343EA8}" srcId="{35E3E33F-7E06-4E53-8F12-65DFA1107A11}" destId="{744E1EED-C79A-4FDB-AB6D-4056E9B7E91E}" srcOrd="0" destOrd="0" parTransId="{CF9B607F-809F-4661-852C-61368C8F4CBF}" sibTransId="{E2A47B40-40BE-46CA-9375-CB8723E94098}"/>
    <dgm:cxn modelId="{3E28A803-5FA1-4FC5-B747-D9B30956008F}" type="presOf" srcId="{5372BDC4-CD9D-48DE-8EA8-9C972B537A86}" destId="{C15A0E37-AFCA-46BF-A517-3B8C1529773B}" srcOrd="0" destOrd="0" presId="urn:microsoft.com/office/officeart/2005/8/layout/process1"/>
    <dgm:cxn modelId="{67DE5E63-2390-40C2-A280-5CADC78CF2F7}" type="presOf" srcId="{35E3E33F-7E06-4E53-8F12-65DFA1107A11}" destId="{24D0083A-E056-41F9-B8BF-BBB8CEB1ACC7}" srcOrd="0" destOrd="0" presId="urn:microsoft.com/office/officeart/2005/8/layout/process1"/>
    <dgm:cxn modelId="{7A0672AE-98F1-40C5-BBAC-4915456C0768}" type="presOf" srcId="{744E1EED-C79A-4FDB-AB6D-4056E9B7E91E}" destId="{D5B8AE38-3FA5-4DC1-9CDF-4C85EBA82B38}" srcOrd="0" destOrd="0" presId="urn:microsoft.com/office/officeart/2005/8/layout/process1"/>
    <dgm:cxn modelId="{45F1934E-6209-4BB2-B120-E8B2DF5DE8C5}" type="presOf" srcId="{E2A47B40-40BE-46CA-9375-CB8723E94098}" destId="{619A507A-6D6E-4C10-922F-FC2E23250B51}" srcOrd="1" destOrd="0" presId="urn:microsoft.com/office/officeart/2005/8/layout/process1"/>
    <dgm:cxn modelId="{2C9A9F1F-A1A2-4667-B2AB-83C20EC01BEF}" type="presOf" srcId="{5372BDC4-CD9D-48DE-8EA8-9C972B537A86}" destId="{3693602B-62A2-4059-B027-54956660736F}" srcOrd="1" destOrd="0" presId="urn:microsoft.com/office/officeart/2005/8/layout/process1"/>
    <dgm:cxn modelId="{D02E4156-6275-45BB-93CA-47D89E0CE42E}" type="presOf" srcId="{99D039FE-68F3-472F-AE8A-E973B9E52AB9}" destId="{A25F00BB-5EF5-4A47-9089-B3260C3A1E65}" srcOrd="0" destOrd="0" presId="urn:microsoft.com/office/officeart/2005/8/layout/process1"/>
    <dgm:cxn modelId="{5CE318AB-218B-485B-8270-211992B5B1E9}" srcId="{35E3E33F-7E06-4E53-8F12-65DFA1107A11}" destId="{F3AC6EC0-1506-4F37-B94D-410B61B326A5}" srcOrd="1" destOrd="0" parTransId="{953230BA-04DB-4D4F-BD48-DB16817FE55F}" sibTransId="{5372BDC4-CD9D-48DE-8EA8-9C972B537A86}"/>
    <dgm:cxn modelId="{F8B95B78-153D-4A20-B4D3-09CA22C83E7D}" srcId="{35E3E33F-7E06-4E53-8F12-65DFA1107A11}" destId="{99D039FE-68F3-472F-AE8A-E973B9E52AB9}" srcOrd="2" destOrd="0" parTransId="{3E8F19A8-131B-4F7F-85CC-2160F9AD8646}" sibTransId="{A624EBAF-9BC8-45D4-A485-F1EADCE1A3B8}"/>
    <dgm:cxn modelId="{1D1B98E6-9FA0-4375-8208-FF3F84B664AA}" type="presParOf" srcId="{24D0083A-E056-41F9-B8BF-BBB8CEB1ACC7}" destId="{D5B8AE38-3FA5-4DC1-9CDF-4C85EBA82B38}" srcOrd="0" destOrd="0" presId="urn:microsoft.com/office/officeart/2005/8/layout/process1"/>
    <dgm:cxn modelId="{0BA75757-6FE7-495E-9EE4-35C0C977276B}" type="presParOf" srcId="{24D0083A-E056-41F9-B8BF-BBB8CEB1ACC7}" destId="{CF57A675-CD82-4C81-8010-AE3F53FD558F}" srcOrd="1" destOrd="0" presId="urn:microsoft.com/office/officeart/2005/8/layout/process1"/>
    <dgm:cxn modelId="{DB60E7F0-F2AA-4FA3-8249-D3F3B2849739}" type="presParOf" srcId="{CF57A675-CD82-4C81-8010-AE3F53FD558F}" destId="{619A507A-6D6E-4C10-922F-FC2E23250B51}" srcOrd="0" destOrd="0" presId="urn:microsoft.com/office/officeart/2005/8/layout/process1"/>
    <dgm:cxn modelId="{BC010FD9-4D26-47AA-97D8-93ADFAB1540E}" type="presParOf" srcId="{24D0083A-E056-41F9-B8BF-BBB8CEB1ACC7}" destId="{39387D2B-697A-4D13-8E13-7DA20AC1BE82}" srcOrd="2" destOrd="0" presId="urn:microsoft.com/office/officeart/2005/8/layout/process1"/>
    <dgm:cxn modelId="{E9B24326-F3E2-493C-8822-F195ADB9B8FE}" type="presParOf" srcId="{24D0083A-E056-41F9-B8BF-BBB8CEB1ACC7}" destId="{C15A0E37-AFCA-46BF-A517-3B8C1529773B}" srcOrd="3" destOrd="0" presId="urn:microsoft.com/office/officeart/2005/8/layout/process1"/>
    <dgm:cxn modelId="{4281BABF-57AB-44FD-BBD9-B7BFA113DCCD}" type="presParOf" srcId="{C15A0E37-AFCA-46BF-A517-3B8C1529773B}" destId="{3693602B-62A2-4059-B027-54956660736F}" srcOrd="0" destOrd="0" presId="urn:microsoft.com/office/officeart/2005/8/layout/process1"/>
    <dgm:cxn modelId="{338C09F6-C635-4C5A-8533-1F6607B0B128}" type="presParOf" srcId="{24D0083A-E056-41F9-B8BF-BBB8CEB1ACC7}" destId="{A25F00BB-5EF5-4A47-9089-B3260C3A1E65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5E3E33F-7E06-4E53-8F12-65DFA1107A11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744E1EED-C79A-4FDB-AB6D-4056E9B7E91E}">
      <dgm:prSet phldrT="[Text]"/>
      <dgm:spPr/>
      <dgm:t>
        <a:bodyPr/>
        <a:lstStyle/>
        <a:p>
          <a:r>
            <a:rPr lang="en-US" dirty="0" smtClean="0"/>
            <a:t>Progression requirements for matriculation</a:t>
          </a:r>
          <a:endParaRPr lang="en-US" dirty="0"/>
        </a:p>
      </dgm:t>
    </dgm:pt>
    <dgm:pt modelId="{CF9B607F-809F-4661-852C-61368C8F4CBF}" type="parTrans" cxnId="{45FE34A5-1047-47B4-AE76-76112D343EA8}">
      <dgm:prSet/>
      <dgm:spPr/>
      <dgm:t>
        <a:bodyPr/>
        <a:lstStyle/>
        <a:p>
          <a:endParaRPr lang="en-US"/>
        </a:p>
      </dgm:t>
    </dgm:pt>
    <dgm:pt modelId="{E2A47B40-40BE-46CA-9375-CB8723E94098}" type="sibTrans" cxnId="{45FE34A5-1047-47B4-AE76-76112D343EA8}">
      <dgm:prSet/>
      <dgm:spPr/>
      <dgm:t>
        <a:bodyPr/>
        <a:lstStyle/>
        <a:p>
          <a:endParaRPr lang="en-US"/>
        </a:p>
      </dgm:t>
    </dgm:pt>
    <dgm:pt modelId="{F3AC6EC0-1506-4F37-B94D-410B61B326A5}">
      <dgm:prSet phldrT="[Text]"/>
      <dgm:spPr/>
      <dgm:t>
        <a:bodyPr/>
        <a:lstStyle/>
        <a:p>
          <a:r>
            <a:rPr lang="en-US" dirty="0"/>
            <a:t>GPA 3.0</a:t>
          </a:r>
        </a:p>
        <a:p>
          <a:r>
            <a:rPr lang="en-US" dirty="0"/>
            <a:t>B or better</a:t>
          </a:r>
        </a:p>
        <a:p>
          <a:r>
            <a:rPr lang="en-US" dirty="0"/>
            <a:t>No I or WX</a:t>
          </a:r>
        </a:p>
      </dgm:t>
    </dgm:pt>
    <dgm:pt modelId="{953230BA-04DB-4D4F-BD48-DB16817FE55F}" type="parTrans" cxnId="{5CE318AB-218B-485B-8270-211992B5B1E9}">
      <dgm:prSet/>
      <dgm:spPr/>
      <dgm:t>
        <a:bodyPr/>
        <a:lstStyle/>
        <a:p>
          <a:endParaRPr lang="en-US"/>
        </a:p>
      </dgm:t>
    </dgm:pt>
    <dgm:pt modelId="{5372BDC4-CD9D-48DE-8EA8-9C972B537A86}" type="sibTrans" cxnId="{5CE318AB-218B-485B-8270-211992B5B1E9}">
      <dgm:prSet/>
      <dgm:spPr/>
      <dgm:t>
        <a:bodyPr/>
        <a:lstStyle/>
        <a:p>
          <a:endParaRPr lang="en-US"/>
        </a:p>
      </dgm:t>
    </dgm:pt>
    <dgm:pt modelId="{99D039FE-68F3-472F-AE8A-E973B9E52AB9}">
      <dgm:prSet phldrT="[Text]"/>
      <dgm:spPr/>
      <dgm:t>
        <a:bodyPr/>
        <a:lstStyle/>
        <a:p>
          <a:r>
            <a:rPr lang="en-US" dirty="0"/>
            <a:t>Standard courses</a:t>
          </a:r>
        </a:p>
      </dgm:t>
    </dgm:pt>
    <dgm:pt modelId="{3E8F19A8-131B-4F7F-85CC-2160F9AD8646}" type="parTrans" cxnId="{F8B95B78-153D-4A20-B4D3-09CA22C83E7D}">
      <dgm:prSet/>
      <dgm:spPr/>
      <dgm:t>
        <a:bodyPr/>
        <a:lstStyle/>
        <a:p>
          <a:endParaRPr lang="en-US"/>
        </a:p>
      </dgm:t>
    </dgm:pt>
    <dgm:pt modelId="{A624EBAF-9BC8-45D4-A485-F1EADCE1A3B8}" type="sibTrans" cxnId="{F8B95B78-153D-4A20-B4D3-09CA22C83E7D}">
      <dgm:prSet/>
      <dgm:spPr/>
      <dgm:t>
        <a:bodyPr/>
        <a:lstStyle/>
        <a:p>
          <a:endParaRPr lang="en-US"/>
        </a:p>
      </dgm:t>
    </dgm:pt>
    <dgm:pt modelId="{24D0083A-E056-41F9-B8BF-BBB8CEB1ACC7}" type="pres">
      <dgm:prSet presAssocID="{35E3E33F-7E06-4E53-8F12-65DFA1107A11}" presName="Name0" presStyleCnt="0">
        <dgm:presLayoutVars>
          <dgm:dir/>
          <dgm:resizeHandles val="exact"/>
        </dgm:presLayoutVars>
      </dgm:prSet>
      <dgm:spPr/>
    </dgm:pt>
    <dgm:pt modelId="{D5B8AE38-3FA5-4DC1-9CDF-4C85EBA82B38}" type="pres">
      <dgm:prSet presAssocID="{744E1EED-C79A-4FDB-AB6D-4056E9B7E91E}" presName="node" presStyleLbl="node1" presStyleIdx="0" presStyleCnt="3" custScaleX="105290" custScaleY="83043" custLinFactNeighborX="314" custLinFactNeighborY="1001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57A675-CD82-4C81-8010-AE3F53FD558F}" type="pres">
      <dgm:prSet presAssocID="{E2A47B40-40BE-46CA-9375-CB8723E94098}" presName="sibTrans" presStyleLbl="sibTrans2D1" presStyleIdx="0" presStyleCnt="2"/>
      <dgm:spPr/>
      <dgm:t>
        <a:bodyPr/>
        <a:lstStyle/>
        <a:p>
          <a:endParaRPr lang="en-US"/>
        </a:p>
      </dgm:t>
    </dgm:pt>
    <dgm:pt modelId="{619A507A-6D6E-4C10-922F-FC2E23250B51}" type="pres">
      <dgm:prSet presAssocID="{E2A47B40-40BE-46CA-9375-CB8723E94098}" presName="connectorText" presStyleLbl="sibTrans2D1" presStyleIdx="0" presStyleCnt="2"/>
      <dgm:spPr/>
      <dgm:t>
        <a:bodyPr/>
        <a:lstStyle/>
        <a:p>
          <a:endParaRPr lang="en-US"/>
        </a:p>
      </dgm:t>
    </dgm:pt>
    <dgm:pt modelId="{39387D2B-697A-4D13-8E13-7DA20AC1BE82}" type="pres">
      <dgm:prSet presAssocID="{F3AC6EC0-1506-4F37-B94D-410B61B326A5}" presName="node" presStyleLbl="node1" presStyleIdx="1" presStyleCnt="3" custScaleY="82237" custLinFactNeighborX="-5488" custLinFactNeighborY="88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15A0E37-AFCA-46BF-A517-3B8C1529773B}" type="pres">
      <dgm:prSet presAssocID="{5372BDC4-CD9D-48DE-8EA8-9C972B537A86}" presName="sibTrans" presStyleLbl="sibTrans2D1" presStyleIdx="1" presStyleCnt="2"/>
      <dgm:spPr/>
      <dgm:t>
        <a:bodyPr/>
        <a:lstStyle/>
        <a:p>
          <a:endParaRPr lang="en-US"/>
        </a:p>
      </dgm:t>
    </dgm:pt>
    <dgm:pt modelId="{3693602B-62A2-4059-B027-54956660736F}" type="pres">
      <dgm:prSet presAssocID="{5372BDC4-CD9D-48DE-8EA8-9C972B537A86}" presName="connectorText" presStyleLbl="sibTrans2D1" presStyleIdx="1" presStyleCnt="2"/>
      <dgm:spPr/>
      <dgm:t>
        <a:bodyPr/>
        <a:lstStyle/>
        <a:p>
          <a:endParaRPr lang="en-US"/>
        </a:p>
      </dgm:t>
    </dgm:pt>
    <dgm:pt modelId="{A25F00BB-5EF5-4A47-9089-B3260C3A1E65}" type="pres">
      <dgm:prSet presAssocID="{99D039FE-68F3-472F-AE8A-E973B9E52AB9}" presName="node" presStyleLbl="node1" presStyleIdx="2" presStyleCnt="3" custScaleY="77523" custLinFactNeighborX="1622" custLinFactNeighborY="106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D468FBB-AF94-45C7-B1E5-DA3ABCEDD2DF}" type="presOf" srcId="{E2A47B40-40BE-46CA-9375-CB8723E94098}" destId="{CF57A675-CD82-4C81-8010-AE3F53FD558F}" srcOrd="0" destOrd="0" presId="urn:microsoft.com/office/officeart/2005/8/layout/process1"/>
    <dgm:cxn modelId="{C7582E94-D468-4CC1-A9EB-E7CF2DFEEA29}" type="presOf" srcId="{744E1EED-C79A-4FDB-AB6D-4056E9B7E91E}" destId="{D5B8AE38-3FA5-4DC1-9CDF-4C85EBA82B38}" srcOrd="0" destOrd="0" presId="urn:microsoft.com/office/officeart/2005/8/layout/process1"/>
    <dgm:cxn modelId="{45FE34A5-1047-47B4-AE76-76112D343EA8}" srcId="{35E3E33F-7E06-4E53-8F12-65DFA1107A11}" destId="{744E1EED-C79A-4FDB-AB6D-4056E9B7E91E}" srcOrd="0" destOrd="0" parTransId="{CF9B607F-809F-4661-852C-61368C8F4CBF}" sibTransId="{E2A47B40-40BE-46CA-9375-CB8723E94098}"/>
    <dgm:cxn modelId="{A63C0C0C-EB94-469B-8FC1-56A12BEA3198}" type="presOf" srcId="{35E3E33F-7E06-4E53-8F12-65DFA1107A11}" destId="{24D0083A-E056-41F9-B8BF-BBB8CEB1ACC7}" srcOrd="0" destOrd="0" presId="urn:microsoft.com/office/officeart/2005/8/layout/process1"/>
    <dgm:cxn modelId="{5A47FFD5-46C0-4086-A4FF-A3CA637D2F24}" type="presOf" srcId="{F3AC6EC0-1506-4F37-B94D-410B61B326A5}" destId="{39387D2B-697A-4D13-8E13-7DA20AC1BE82}" srcOrd="0" destOrd="0" presId="urn:microsoft.com/office/officeart/2005/8/layout/process1"/>
    <dgm:cxn modelId="{F3C151C3-17AA-4901-BFD1-FDFB1EABD471}" type="presOf" srcId="{E2A47B40-40BE-46CA-9375-CB8723E94098}" destId="{619A507A-6D6E-4C10-922F-FC2E23250B51}" srcOrd="1" destOrd="0" presId="urn:microsoft.com/office/officeart/2005/8/layout/process1"/>
    <dgm:cxn modelId="{E6E4507F-FAA5-41E1-9A71-8F96FD8E1463}" type="presOf" srcId="{5372BDC4-CD9D-48DE-8EA8-9C972B537A86}" destId="{3693602B-62A2-4059-B027-54956660736F}" srcOrd="1" destOrd="0" presId="urn:microsoft.com/office/officeart/2005/8/layout/process1"/>
    <dgm:cxn modelId="{0AC11A1E-8B90-4563-B077-A2F6CDFF25A0}" type="presOf" srcId="{5372BDC4-CD9D-48DE-8EA8-9C972B537A86}" destId="{C15A0E37-AFCA-46BF-A517-3B8C1529773B}" srcOrd="0" destOrd="0" presId="urn:microsoft.com/office/officeart/2005/8/layout/process1"/>
    <dgm:cxn modelId="{5CE318AB-218B-485B-8270-211992B5B1E9}" srcId="{35E3E33F-7E06-4E53-8F12-65DFA1107A11}" destId="{F3AC6EC0-1506-4F37-B94D-410B61B326A5}" srcOrd="1" destOrd="0" parTransId="{953230BA-04DB-4D4F-BD48-DB16817FE55F}" sibTransId="{5372BDC4-CD9D-48DE-8EA8-9C972B537A86}"/>
    <dgm:cxn modelId="{EC381BA1-57C4-4DAB-8754-0B7796C4DCBF}" type="presOf" srcId="{99D039FE-68F3-472F-AE8A-E973B9E52AB9}" destId="{A25F00BB-5EF5-4A47-9089-B3260C3A1E65}" srcOrd="0" destOrd="0" presId="urn:microsoft.com/office/officeart/2005/8/layout/process1"/>
    <dgm:cxn modelId="{F8B95B78-153D-4A20-B4D3-09CA22C83E7D}" srcId="{35E3E33F-7E06-4E53-8F12-65DFA1107A11}" destId="{99D039FE-68F3-472F-AE8A-E973B9E52AB9}" srcOrd="2" destOrd="0" parTransId="{3E8F19A8-131B-4F7F-85CC-2160F9AD8646}" sibTransId="{A624EBAF-9BC8-45D4-A485-F1EADCE1A3B8}"/>
    <dgm:cxn modelId="{0DA2532B-4864-403B-80BF-6FFE72CF08C6}" type="presParOf" srcId="{24D0083A-E056-41F9-B8BF-BBB8CEB1ACC7}" destId="{D5B8AE38-3FA5-4DC1-9CDF-4C85EBA82B38}" srcOrd="0" destOrd="0" presId="urn:microsoft.com/office/officeart/2005/8/layout/process1"/>
    <dgm:cxn modelId="{114093A0-F8E0-4017-A736-1BF607312139}" type="presParOf" srcId="{24D0083A-E056-41F9-B8BF-BBB8CEB1ACC7}" destId="{CF57A675-CD82-4C81-8010-AE3F53FD558F}" srcOrd="1" destOrd="0" presId="urn:microsoft.com/office/officeart/2005/8/layout/process1"/>
    <dgm:cxn modelId="{B6717480-3799-4B13-A791-9537247259A8}" type="presParOf" srcId="{CF57A675-CD82-4C81-8010-AE3F53FD558F}" destId="{619A507A-6D6E-4C10-922F-FC2E23250B51}" srcOrd="0" destOrd="0" presId="urn:microsoft.com/office/officeart/2005/8/layout/process1"/>
    <dgm:cxn modelId="{8C088AE5-81ED-400C-A7D7-473FB3535969}" type="presParOf" srcId="{24D0083A-E056-41F9-B8BF-BBB8CEB1ACC7}" destId="{39387D2B-697A-4D13-8E13-7DA20AC1BE82}" srcOrd="2" destOrd="0" presId="urn:microsoft.com/office/officeart/2005/8/layout/process1"/>
    <dgm:cxn modelId="{E8591BCE-8596-48FF-A429-DE4F31EA3F3D}" type="presParOf" srcId="{24D0083A-E056-41F9-B8BF-BBB8CEB1ACC7}" destId="{C15A0E37-AFCA-46BF-A517-3B8C1529773B}" srcOrd="3" destOrd="0" presId="urn:microsoft.com/office/officeart/2005/8/layout/process1"/>
    <dgm:cxn modelId="{74961BC5-A427-46E3-866D-F1AD5A6626C2}" type="presParOf" srcId="{C15A0E37-AFCA-46BF-A517-3B8C1529773B}" destId="{3693602B-62A2-4059-B027-54956660736F}" srcOrd="0" destOrd="0" presId="urn:microsoft.com/office/officeart/2005/8/layout/process1"/>
    <dgm:cxn modelId="{B8AD45DE-F0A5-4F3B-A296-C29AD83B4077}" type="presParOf" srcId="{24D0083A-E056-41F9-B8BF-BBB8CEB1ACC7}" destId="{A25F00BB-5EF5-4A47-9089-B3260C3A1E65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5E3E33F-7E06-4E53-8F12-65DFA1107A11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744E1EED-C79A-4FDB-AB6D-4056E9B7E91E}">
      <dgm:prSet phldrT="[Text]" custT="1"/>
      <dgm:spPr/>
      <dgm:t>
        <a:bodyPr/>
        <a:lstStyle/>
        <a:p>
          <a:r>
            <a:rPr lang="en-US" sz="2000" dirty="0"/>
            <a:t>Direct Entry</a:t>
          </a:r>
        </a:p>
      </dgm:t>
    </dgm:pt>
    <dgm:pt modelId="{CF9B607F-809F-4661-852C-61368C8F4CBF}" type="parTrans" cxnId="{45FE34A5-1047-47B4-AE76-76112D343EA8}">
      <dgm:prSet/>
      <dgm:spPr/>
      <dgm:t>
        <a:bodyPr/>
        <a:lstStyle/>
        <a:p>
          <a:endParaRPr lang="en-US"/>
        </a:p>
      </dgm:t>
    </dgm:pt>
    <dgm:pt modelId="{E2A47B40-40BE-46CA-9375-CB8723E94098}" type="sibTrans" cxnId="{45FE34A5-1047-47B4-AE76-76112D343EA8}">
      <dgm:prSet/>
      <dgm:spPr/>
      <dgm:t>
        <a:bodyPr/>
        <a:lstStyle/>
        <a:p>
          <a:endParaRPr lang="en-US"/>
        </a:p>
      </dgm:t>
    </dgm:pt>
    <dgm:pt modelId="{F3AC6EC0-1506-4F37-B94D-410B61B326A5}">
      <dgm:prSet phldrT="[Text]"/>
      <dgm:spPr/>
      <dgm:t>
        <a:bodyPr/>
        <a:lstStyle/>
        <a:p>
          <a:r>
            <a:rPr lang="en-US" dirty="0"/>
            <a:t>GPA </a:t>
          </a:r>
          <a:r>
            <a:rPr lang="en-US" dirty="0" smtClean="0"/>
            <a:t>2.8/3.0</a:t>
          </a:r>
          <a:endParaRPr lang="en-US" dirty="0"/>
        </a:p>
        <a:p>
          <a:r>
            <a:rPr lang="en-US" dirty="0"/>
            <a:t>TOEFL 79</a:t>
          </a:r>
        </a:p>
        <a:p>
          <a:r>
            <a:rPr lang="en-US" dirty="0"/>
            <a:t>IELTS 6.5</a:t>
          </a:r>
        </a:p>
      </dgm:t>
    </dgm:pt>
    <dgm:pt modelId="{953230BA-04DB-4D4F-BD48-DB16817FE55F}" type="parTrans" cxnId="{5CE318AB-218B-485B-8270-211992B5B1E9}">
      <dgm:prSet/>
      <dgm:spPr/>
      <dgm:t>
        <a:bodyPr/>
        <a:lstStyle/>
        <a:p>
          <a:endParaRPr lang="en-US"/>
        </a:p>
      </dgm:t>
    </dgm:pt>
    <dgm:pt modelId="{5372BDC4-CD9D-48DE-8EA8-9C972B537A86}" type="sibTrans" cxnId="{5CE318AB-218B-485B-8270-211992B5B1E9}">
      <dgm:prSet/>
      <dgm:spPr/>
      <dgm:t>
        <a:bodyPr/>
        <a:lstStyle/>
        <a:p>
          <a:endParaRPr lang="en-US"/>
        </a:p>
      </dgm:t>
    </dgm:pt>
    <dgm:pt modelId="{99D039FE-68F3-472F-AE8A-E973B9E52AB9}">
      <dgm:prSet phldrT="[Text]"/>
      <dgm:spPr/>
      <dgm:t>
        <a:bodyPr/>
        <a:lstStyle/>
        <a:p>
          <a:r>
            <a:rPr lang="en-US" dirty="0"/>
            <a:t>Standard </a:t>
          </a:r>
          <a:r>
            <a:rPr lang="en-US" dirty="0" smtClean="0"/>
            <a:t>courses; direct matriculation</a:t>
          </a:r>
          <a:endParaRPr lang="en-US" dirty="0"/>
        </a:p>
      </dgm:t>
    </dgm:pt>
    <dgm:pt modelId="{3E8F19A8-131B-4F7F-85CC-2160F9AD8646}" type="parTrans" cxnId="{F8B95B78-153D-4A20-B4D3-09CA22C83E7D}">
      <dgm:prSet/>
      <dgm:spPr/>
      <dgm:t>
        <a:bodyPr/>
        <a:lstStyle/>
        <a:p>
          <a:endParaRPr lang="en-US"/>
        </a:p>
      </dgm:t>
    </dgm:pt>
    <dgm:pt modelId="{A624EBAF-9BC8-45D4-A485-F1EADCE1A3B8}" type="sibTrans" cxnId="{F8B95B78-153D-4A20-B4D3-09CA22C83E7D}">
      <dgm:prSet/>
      <dgm:spPr/>
      <dgm:t>
        <a:bodyPr/>
        <a:lstStyle/>
        <a:p>
          <a:endParaRPr lang="en-US"/>
        </a:p>
      </dgm:t>
    </dgm:pt>
    <dgm:pt modelId="{24D0083A-E056-41F9-B8BF-BBB8CEB1ACC7}" type="pres">
      <dgm:prSet presAssocID="{35E3E33F-7E06-4E53-8F12-65DFA1107A11}" presName="Name0" presStyleCnt="0">
        <dgm:presLayoutVars>
          <dgm:dir/>
          <dgm:resizeHandles val="exact"/>
        </dgm:presLayoutVars>
      </dgm:prSet>
      <dgm:spPr/>
    </dgm:pt>
    <dgm:pt modelId="{D5B8AE38-3FA5-4DC1-9CDF-4C85EBA82B38}" type="pres">
      <dgm:prSet presAssocID="{744E1EED-C79A-4FDB-AB6D-4056E9B7E91E}" presName="node" presStyleLbl="node1" presStyleIdx="0" presStyleCnt="3" custScaleX="101154" custScaleY="79464" custLinFactNeighborX="-430" custLinFactNeighborY="-152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57A675-CD82-4C81-8010-AE3F53FD558F}" type="pres">
      <dgm:prSet presAssocID="{E2A47B40-40BE-46CA-9375-CB8723E94098}" presName="sibTrans" presStyleLbl="sibTrans2D1" presStyleIdx="0" presStyleCnt="2"/>
      <dgm:spPr/>
      <dgm:t>
        <a:bodyPr/>
        <a:lstStyle/>
        <a:p>
          <a:endParaRPr lang="en-US"/>
        </a:p>
      </dgm:t>
    </dgm:pt>
    <dgm:pt modelId="{619A507A-6D6E-4C10-922F-FC2E23250B51}" type="pres">
      <dgm:prSet presAssocID="{E2A47B40-40BE-46CA-9375-CB8723E94098}" presName="connectorText" presStyleLbl="sibTrans2D1" presStyleIdx="0" presStyleCnt="2"/>
      <dgm:spPr/>
      <dgm:t>
        <a:bodyPr/>
        <a:lstStyle/>
        <a:p>
          <a:endParaRPr lang="en-US"/>
        </a:p>
      </dgm:t>
    </dgm:pt>
    <dgm:pt modelId="{39387D2B-697A-4D13-8E13-7DA20AC1BE82}" type="pres">
      <dgm:prSet presAssocID="{F3AC6EC0-1506-4F37-B94D-410B61B326A5}" presName="node" presStyleLbl="node1" presStyleIdx="1" presStyleCnt="3" custScaleY="8108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15A0E37-AFCA-46BF-A517-3B8C1529773B}" type="pres">
      <dgm:prSet presAssocID="{5372BDC4-CD9D-48DE-8EA8-9C972B537A86}" presName="sibTrans" presStyleLbl="sibTrans2D1" presStyleIdx="1" presStyleCnt="2"/>
      <dgm:spPr/>
      <dgm:t>
        <a:bodyPr/>
        <a:lstStyle/>
        <a:p>
          <a:endParaRPr lang="en-US"/>
        </a:p>
      </dgm:t>
    </dgm:pt>
    <dgm:pt modelId="{3693602B-62A2-4059-B027-54956660736F}" type="pres">
      <dgm:prSet presAssocID="{5372BDC4-CD9D-48DE-8EA8-9C972B537A86}" presName="connectorText" presStyleLbl="sibTrans2D1" presStyleIdx="1" presStyleCnt="2"/>
      <dgm:spPr/>
      <dgm:t>
        <a:bodyPr/>
        <a:lstStyle/>
        <a:p>
          <a:endParaRPr lang="en-US"/>
        </a:p>
      </dgm:t>
    </dgm:pt>
    <dgm:pt modelId="{A25F00BB-5EF5-4A47-9089-B3260C3A1E65}" type="pres">
      <dgm:prSet presAssocID="{99D039FE-68F3-472F-AE8A-E973B9E52AB9}" presName="node" presStyleLbl="node1" presStyleIdx="2" presStyleCnt="3" custScaleY="752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65F0868-C996-4992-9E19-993129D2BF19}" type="presOf" srcId="{E2A47B40-40BE-46CA-9375-CB8723E94098}" destId="{CF57A675-CD82-4C81-8010-AE3F53FD558F}" srcOrd="0" destOrd="0" presId="urn:microsoft.com/office/officeart/2005/8/layout/process1"/>
    <dgm:cxn modelId="{45FE34A5-1047-47B4-AE76-76112D343EA8}" srcId="{35E3E33F-7E06-4E53-8F12-65DFA1107A11}" destId="{744E1EED-C79A-4FDB-AB6D-4056E9B7E91E}" srcOrd="0" destOrd="0" parTransId="{CF9B607F-809F-4661-852C-61368C8F4CBF}" sibTransId="{E2A47B40-40BE-46CA-9375-CB8723E94098}"/>
    <dgm:cxn modelId="{AFF8801E-D395-4B38-8B4D-309EC61F238A}" type="presOf" srcId="{744E1EED-C79A-4FDB-AB6D-4056E9B7E91E}" destId="{D5B8AE38-3FA5-4DC1-9CDF-4C85EBA82B38}" srcOrd="0" destOrd="0" presId="urn:microsoft.com/office/officeart/2005/8/layout/process1"/>
    <dgm:cxn modelId="{A17A04BD-D1AE-4171-A2EC-1CE2806E85FA}" type="presOf" srcId="{5372BDC4-CD9D-48DE-8EA8-9C972B537A86}" destId="{3693602B-62A2-4059-B027-54956660736F}" srcOrd="1" destOrd="0" presId="urn:microsoft.com/office/officeart/2005/8/layout/process1"/>
    <dgm:cxn modelId="{2B48748E-1309-4321-B1B9-90D5E7154524}" type="presOf" srcId="{5372BDC4-CD9D-48DE-8EA8-9C972B537A86}" destId="{C15A0E37-AFCA-46BF-A517-3B8C1529773B}" srcOrd="0" destOrd="0" presId="urn:microsoft.com/office/officeart/2005/8/layout/process1"/>
    <dgm:cxn modelId="{F8B95B78-153D-4A20-B4D3-09CA22C83E7D}" srcId="{35E3E33F-7E06-4E53-8F12-65DFA1107A11}" destId="{99D039FE-68F3-472F-AE8A-E973B9E52AB9}" srcOrd="2" destOrd="0" parTransId="{3E8F19A8-131B-4F7F-85CC-2160F9AD8646}" sibTransId="{A624EBAF-9BC8-45D4-A485-F1EADCE1A3B8}"/>
    <dgm:cxn modelId="{559DBE78-E279-49F4-B7A4-47D9A5DA12F4}" type="presOf" srcId="{E2A47B40-40BE-46CA-9375-CB8723E94098}" destId="{619A507A-6D6E-4C10-922F-FC2E23250B51}" srcOrd="1" destOrd="0" presId="urn:microsoft.com/office/officeart/2005/8/layout/process1"/>
    <dgm:cxn modelId="{592E211B-6202-4C6A-B04E-E8BC6A7DD85A}" type="presOf" srcId="{99D039FE-68F3-472F-AE8A-E973B9E52AB9}" destId="{A25F00BB-5EF5-4A47-9089-B3260C3A1E65}" srcOrd="0" destOrd="0" presId="urn:microsoft.com/office/officeart/2005/8/layout/process1"/>
    <dgm:cxn modelId="{9451BD71-3872-48C9-9199-94B32852722B}" type="presOf" srcId="{35E3E33F-7E06-4E53-8F12-65DFA1107A11}" destId="{24D0083A-E056-41F9-B8BF-BBB8CEB1ACC7}" srcOrd="0" destOrd="0" presId="urn:microsoft.com/office/officeart/2005/8/layout/process1"/>
    <dgm:cxn modelId="{66883C80-F947-4373-B7BC-F69658F88E97}" type="presOf" srcId="{F3AC6EC0-1506-4F37-B94D-410B61B326A5}" destId="{39387D2B-697A-4D13-8E13-7DA20AC1BE82}" srcOrd="0" destOrd="0" presId="urn:microsoft.com/office/officeart/2005/8/layout/process1"/>
    <dgm:cxn modelId="{5CE318AB-218B-485B-8270-211992B5B1E9}" srcId="{35E3E33F-7E06-4E53-8F12-65DFA1107A11}" destId="{F3AC6EC0-1506-4F37-B94D-410B61B326A5}" srcOrd="1" destOrd="0" parTransId="{953230BA-04DB-4D4F-BD48-DB16817FE55F}" sibTransId="{5372BDC4-CD9D-48DE-8EA8-9C972B537A86}"/>
    <dgm:cxn modelId="{D4338123-3A75-4A08-B140-63976077BD10}" type="presParOf" srcId="{24D0083A-E056-41F9-B8BF-BBB8CEB1ACC7}" destId="{D5B8AE38-3FA5-4DC1-9CDF-4C85EBA82B38}" srcOrd="0" destOrd="0" presId="urn:microsoft.com/office/officeart/2005/8/layout/process1"/>
    <dgm:cxn modelId="{B957ACB8-26D8-47AE-8C74-BE2E4513CAE0}" type="presParOf" srcId="{24D0083A-E056-41F9-B8BF-BBB8CEB1ACC7}" destId="{CF57A675-CD82-4C81-8010-AE3F53FD558F}" srcOrd="1" destOrd="0" presId="urn:microsoft.com/office/officeart/2005/8/layout/process1"/>
    <dgm:cxn modelId="{ACE39661-FF0D-4FF3-8F58-D4722BE784B5}" type="presParOf" srcId="{CF57A675-CD82-4C81-8010-AE3F53FD558F}" destId="{619A507A-6D6E-4C10-922F-FC2E23250B51}" srcOrd="0" destOrd="0" presId="urn:microsoft.com/office/officeart/2005/8/layout/process1"/>
    <dgm:cxn modelId="{D177BBBD-3100-4F4B-B972-867ED0B30F77}" type="presParOf" srcId="{24D0083A-E056-41F9-B8BF-BBB8CEB1ACC7}" destId="{39387D2B-697A-4D13-8E13-7DA20AC1BE82}" srcOrd="2" destOrd="0" presId="urn:microsoft.com/office/officeart/2005/8/layout/process1"/>
    <dgm:cxn modelId="{2665F74F-7339-41CF-8531-8ABC1EDEFA32}" type="presParOf" srcId="{24D0083A-E056-41F9-B8BF-BBB8CEB1ACC7}" destId="{C15A0E37-AFCA-46BF-A517-3B8C1529773B}" srcOrd="3" destOrd="0" presId="urn:microsoft.com/office/officeart/2005/8/layout/process1"/>
    <dgm:cxn modelId="{2A1BC344-FFC8-481A-B349-CBF6515CAD2F}" type="presParOf" srcId="{C15A0E37-AFCA-46BF-A517-3B8C1529773B}" destId="{3693602B-62A2-4059-B027-54956660736F}" srcOrd="0" destOrd="0" presId="urn:microsoft.com/office/officeart/2005/8/layout/process1"/>
    <dgm:cxn modelId="{A8AF2E59-9F70-4D30-A11A-2BFFF7C58100}" type="presParOf" srcId="{24D0083A-E056-41F9-B8BF-BBB8CEB1ACC7}" destId="{A25F00BB-5EF5-4A47-9089-B3260C3A1E65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5E3E33F-7E06-4E53-8F12-65DFA1107A11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744E1EED-C79A-4FDB-AB6D-4056E9B7E91E}">
      <dgm:prSet phldrT="[Text]" custT="1"/>
      <dgm:spPr/>
      <dgm:t>
        <a:bodyPr/>
        <a:lstStyle/>
        <a:p>
          <a:r>
            <a:rPr lang="en-US" sz="2000" dirty="0"/>
            <a:t>Accelerated </a:t>
          </a:r>
          <a:r>
            <a:rPr lang="en-US" sz="2000" dirty="0" smtClean="0"/>
            <a:t>Pathway </a:t>
          </a:r>
        </a:p>
        <a:p>
          <a:r>
            <a:rPr lang="en-US" sz="2000" dirty="0" smtClean="0"/>
            <a:t>(1 semester)</a:t>
          </a:r>
          <a:endParaRPr lang="en-US" sz="2000" dirty="0"/>
        </a:p>
      </dgm:t>
    </dgm:pt>
    <dgm:pt modelId="{CF9B607F-809F-4661-852C-61368C8F4CBF}" type="parTrans" cxnId="{45FE34A5-1047-47B4-AE76-76112D343EA8}">
      <dgm:prSet/>
      <dgm:spPr/>
      <dgm:t>
        <a:bodyPr/>
        <a:lstStyle/>
        <a:p>
          <a:endParaRPr lang="en-US"/>
        </a:p>
      </dgm:t>
    </dgm:pt>
    <dgm:pt modelId="{E2A47B40-40BE-46CA-9375-CB8723E94098}" type="sibTrans" cxnId="{45FE34A5-1047-47B4-AE76-76112D343EA8}">
      <dgm:prSet/>
      <dgm:spPr/>
      <dgm:t>
        <a:bodyPr/>
        <a:lstStyle/>
        <a:p>
          <a:endParaRPr lang="en-US"/>
        </a:p>
      </dgm:t>
    </dgm:pt>
    <dgm:pt modelId="{F3AC6EC0-1506-4F37-B94D-410B61B326A5}">
      <dgm:prSet phldrT="[Text]" custT="1"/>
      <dgm:spPr/>
      <dgm:t>
        <a:bodyPr/>
        <a:lstStyle/>
        <a:p>
          <a:r>
            <a:rPr lang="en-US" sz="2000" dirty="0"/>
            <a:t>GPA 2.5</a:t>
          </a:r>
        </a:p>
        <a:p>
          <a:r>
            <a:rPr lang="en-US" sz="2000" dirty="0"/>
            <a:t>TOEFL 79</a:t>
          </a:r>
        </a:p>
        <a:p>
          <a:r>
            <a:rPr lang="en-US" sz="2000" dirty="0"/>
            <a:t>IELTS 6.5</a:t>
          </a:r>
        </a:p>
      </dgm:t>
    </dgm:pt>
    <dgm:pt modelId="{953230BA-04DB-4D4F-BD48-DB16817FE55F}" type="parTrans" cxnId="{5CE318AB-218B-485B-8270-211992B5B1E9}">
      <dgm:prSet/>
      <dgm:spPr/>
      <dgm:t>
        <a:bodyPr/>
        <a:lstStyle/>
        <a:p>
          <a:endParaRPr lang="en-US"/>
        </a:p>
      </dgm:t>
    </dgm:pt>
    <dgm:pt modelId="{5372BDC4-CD9D-48DE-8EA8-9C972B537A86}" type="sibTrans" cxnId="{5CE318AB-218B-485B-8270-211992B5B1E9}">
      <dgm:prSet/>
      <dgm:spPr/>
      <dgm:t>
        <a:bodyPr/>
        <a:lstStyle/>
        <a:p>
          <a:endParaRPr lang="en-US"/>
        </a:p>
      </dgm:t>
    </dgm:pt>
    <dgm:pt modelId="{99D039FE-68F3-472F-AE8A-E973B9E52AB9}">
      <dgm:prSet phldrT="[Text]"/>
      <dgm:spPr/>
      <dgm:t>
        <a:bodyPr/>
        <a:lstStyle/>
        <a:p>
          <a:r>
            <a:rPr lang="en-US" dirty="0"/>
            <a:t>1 semester ELI (Academic ENG, 3 </a:t>
          </a:r>
          <a:r>
            <a:rPr lang="en-US" dirty="0" err="1"/>
            <a:t>hrs</a:t>
          </a:r>
          <a:r>
            <a:rPr lang="en-US" dirty="0"/>
            <a:t>)</a:t>
          </a:r>
        </a:p>
        <a:p>
          <a:r>
            <a:rPr lang="en-US" dirty="0"/>
            <a:t>6-9 hours courses</a:t>
          </a:r>
        </a:p>
      </dgm:t>
    </dgm:pt>
    <dgm:pt modelId="{3E8F19A8-131B-4F7F-85CC-2160F9AD8646}" type="parTrans" cxnId="{F8B95B78-153D-4A20-B4D3-09CA22C83E7D}">
      <dgm:prSet/>
      <dgm:spPr/>
      <dgm:t>
        <a:bodyPr/>
        <a:lstStyle/>
        <a:p>
          <a:endParaRPr lang="en-US"/>
        </a:p>
      </dgm:t>
    </dgm:pt>
    <dgm:pt modelId="{A624EBAF-9BC8-45D4-A485-F1EADCE1A3B8}" type="sibTrans" cxnId="{F8B95B78-153D-4A20-B4D3-09CA22C83E7D}">
      <dgm:prSet/>
      <dgm:spPr/>
      <dgm:t>
        <a:bodyPr/>
        <a:lstStyle/>
        <a:p>
          <a:endParaRPr lang="en-US"/>
        </a:p>
      </dgm:t>
    </dgm:pt>
    <dgm:pt modelId="{24D0083A-E056-41F9-B8BF-BBB8CEB1ACC7}" type="pres">
      <dgm:prSet presAssocID="{35E3E33F-7E06-4E53-8F12-65DFA1107A11}" presName="Name0" presStyleCnt="0">
        <dgm:presLayoutVars>
          <dgm:dir/>
          <dgm:resizeHandles val="exact"/>
        </dgm:presLayoutVars>
      </dgm:prSet>
      <dgm:spPr/>
    </dgm:pt>
    <dgm:pt modelId="{D5B8AE38-3FA5-4DC1-9CDF-4C85EBA82B38}" type="pres">
      <dgm:prSet presAssocID="{744E1EED-C79A-4FDB-AB6D-4056E9B7E91E}" presName="node" presStyleLbl="node1" presStyleIdx="0" presStyleCnt="3" custScaleY="83495" custLinFactNeighborX="-65106" custLinFactNeighborY="-35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57A675-CD82-4C81-8010-AE3F53FD558F}" type="pres">
      <dgm:prSet presAssocID="{E2A47B40-40BE-46CA-9375-CB8723E94098}" presName="sibTrans" presStyleLbl="sibTrans2D1" presStyleIdx="0" presStyleCnt="2"/>
      <dgm:spPr/>
      <dgm:t>
        <a:bodyPr/>
        <a:lstStyle/>
        <a:p>
          <a:endParaRPr lang="en-US"/>
        </a:p>
      </dgm:t>
    </dgm:pt>
    <dgm:pt modelId="{619A507A-6D6E-4C10-922F-FC2E23250B51}" type="pres">
      <dgm:prSet presAssocID="{E2A47B40-40BE-46CA-9375-CB8723E94098}" presName="connectorText" presStyleLbl="sibTrans2D1" presStyleIdx="0" presStyleCnt="2"/>
      <dgm:spPr/>
      <dgm:t>
        <a:bodyPr/>
        <a:lstStyle/>
        <a:p>
          <a:endParaRPr lang="en-US"/>
        </a:p>
      </dgm:t>
    </dgm:pt>
    <dgm:pt modelId="{39387D2B-697A-4D13-8E13-7DA20AC1BE82}" type="pres">
      <dgm:prSet presAssocID="{F3AC6EC0-1506-4F37-B94D-410B61B326A5}" presName="node" presStyleLbl="node1" presStyleIdx="1" presStyleCnt="3" custScaleY="7414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15A0E37-AFCA-46BF-A517-3B8C1529773B}" type="pres">
      <dgm:prSet presAssocID="{5372BDC4-CD9D-48DE-8EA8-9C972B537A86}" presName="sibTrans" presStyleLbl="sibTrans2D1" presStyleIdx="1" presStyleCnt="2"/>
      <dgm:spPr/>
      <dgm:t>
        <a:bodyPr/>
        <a:lstStyle/>
        <a:p>
          <a:endParaRPr lang="en-US"/>
        </a:p>
      </dgm:t>
    </dgm:pt>
    <dgm:pt modelId="{3693602B-62A2-4059-B027-54956660736F}" type="pres">
      <dgm:prSet presAssocID="{5372BDC4-CD9D-48DE-8EA8-9C972B537A86}" presName="connectorText" presStyleLbl="sibTrans2D1" presStyleIdx="1" presStyleCnt="2"/>
      <dgm:spPr/>
      <dgm:t>
        <a:bodyPr/>
        <a:lstStyle/>
        <a:p>
          <a:endParaRPr lang="en-US"/>
        </a:p>
      </dgm:t>
    </dgm:pt>
    <dgm:pt modelId="{A25F00BB-5EF5-4A47-9089-B3260C3A1E65}" type="pres">
      <dgm:prSet presAssocID="{99D039FE-68F3-472F-AE8A-E973B9E52AB9}" presName="node" presStyleLbl="node1" presStyleIdx="2" presStyleCnt="3" custScaleY="7182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72D9AAF-5B01-4DD0-B0FE-ACFF8F624337}" type="presOf" srcId="{F3AC6EC0-1506-4F37-B94D-410B61B326A5}" destId="{39387D2B-697A-4D13-8E13-7DA20AC1BE82}" srcOrd="0" destOrd="0" presId="urn:microsoft.com/office/officeart/2005/8/layout/process1"/>
    <dgm:cxn modelId="{45FE34A5-1047-47B4-AE76-76112D343EA8}" srcId="{35E3E33F-7E06-4E53-8F12-65DFA1107A11}" destId="{744E1EED-C79A-4FDB-AB6D-4056E9B7E91E}" srcOrd="0" destOrd="0" parTransId="{CF9B607F-809F-4661-852C-61368C8F4CBF}" sibTransId="{E2A47B40-40BE-46CA-9375-CB8723E94098}"/>
    <dgm:cxn modelId="{6B7C9A22-D00B-491C-BD8C-28010E53A309}" type="presOf" srcId="{5372BDC4-CD9D-48DE-8EA8-9C972B537A86}" destId="{3693602B-62A2-4059-B027-54956660736F}" srcOrd="1" destOrd="0" presId="urn:microsoft.com/office/officeart/2005/8/layout/process1"/>
    <dgm:cxn modelId="{AC1C5116-30CA-4B5F-B561-DD865DCA4A0E}" type="presOf" srcId="{35E3E33F-7E06-4E53-8F12-65DFA1107A11}" destId="{24D0083A-E056-41F9-B8BF-BBB8CEB1ACC7}" srcOrd="0" destOrd="0" presId="urn:microsoft.com/office/officeart/2005/8/layout/process1"/>
    <dgm:cxn modelId="{88196183-3DFA-4F07-B08D-FAC6D8043FCD}" type="presOf" srcId="{E2A47B40-40BE-46CA-9375-CB8723E94098}" destId="{CF57A675-CD82-4C81-8010-AE3F53FD558F}" srcOrd="0" destOrd="0" presId="urn:microsoft.com/office/officeart/2005/8/layout/process1"/>
    <dgm:cxn modelId="{948029DB-F16D-4D81-A36F-484CEFFAEDE9}" type="presOf" srcId="{99D039FE-68F3-472F-AE8A-E973B9E52AB9}" destId="{A25F00BB-5EF5-4A47-9089-B3260C3A1E65}" srcOrd="0" destOrd="0" presId="urn:microsoft.com/office/officeart/2005/8/layout/process1"/>
    <dgm:cxn modelId="{7B7C93FA-0DAC-45B8-95F1-2117AD57F65C}" type="presOf" srcId="{5372BDC4-CD9D-48DE-8EA8-9C972B537A86}" destId="{C15A0E37-AFCA-46BF-A517-3B8C1529773B}" srcOrd="0" destOrd="0" presId="urn:microsoft.com/office/officeart/2005/8/layout/process1"/>
    <dgm:cxn modelId="{F8B95B78-153D-4A20-B4D3-09CA22C83E7D}" srcId="{35E3E33F-7E06-4E53-8F12-65DFA1107A11}" destId="{99D039FE-68F3-472F-AE8A-E973B9E52AB9}" srcOrd="2" destOrd="0" parTransId="{3E8F19A8-131B-4F7F-85CC-2160F9AD8646}" sibTransId="{A624EBAF-9BC8-45D4-A485-F1EADCE1A3B8}"/>
    <dgm:cxn modelId="{371BBD34-2017-4071-B877-315FFA3E08B8}" type="presOf" srcId="{744E1EED-C79A-4FDB-AB6D-4056E9B7E91E}" destId="{D5B8AE38-3FA5-4DC1-9CDF-4C85EBA82B38}" srcOrd="0" destOrd="0" presId="urn:microsoft.com/office/officeart/2005/8/layout/process1"/>
    <dgm:cxn modelId="{F6EFC698-4A9C-4AAB-97DB-6331F9948A8E}" type="presOf" srcId="{E2A47B40-40BE-46CA-9375-CB8723E94098}" destId="{619A507A-6D6E-4C10-922F-FC2E23250B51}" srcOrd="1" destOrd="0" presId="urn:microsoft.com/office/officeart/2005/8/layout/process1"/>
    <dgm:cxn modelId="{5CE318AB-218B-485B-8270-211992B5B1E9}" srcId="{35E3E33F-7E06-4E53-8F12-65DFA1107A11}" destId="{F3AC6EC0-1506-4F37-B94D-410B61B326A5}" srcOrd="1" destOrd="0" parTransId="{953230BA-04DB-4D4F-BD48-DB16817FE55F}" sibTransId="{5372BDC4-CD9D-48DE-8EA8-9C972B537A86}"/>
    <dgm:cxn modelId="{03D1EBB9-3D3A-461C-9C81-FAF4E57F46C1}" type="presParOf" srcId="{24D0083A-E056-41F9-B8BF-BBB8CEB1ACC7}" destId="{D5B8AE38-3FA5-4DC1-9CDF-4C85EBA82B38}" srcOrd="0" destOrd="0" presId="urn:microsoft.com/office/officeart/2005/8/layout/process1"/>
    <dgm:cxn modelId="{3CA92F04-8944-4A6A-83FF-B88575167A21}" type="presParOf" srcId="{24D0083A-E056-41F9-B8BF-BBB8CEB1ACC7}" destId="{CF57A675-CD82-4C81-8010-AE3F53FD558F}" srcOrd="1" destOrd="0" presId="urn:microsoft.com/office/officeart/2005/8/layout/process1"/>
    <dgm:cxn modelId="{DF770FCB-33B2-48B4-B43A-4ABB7036C2D3}" type="presParOf" srcId="{CF57A675-CD82-4C81-8010-AE3F53FD558F}" destId="{619A507A-6D6E-4C10-922F-FC2E23250B51}" srcOrd="0" destOrd="0" presId="urn:microsoft.com/office/officeart/2005/8/layout/process1"/>
    <dgm:cxn modelId="{C58ED7DF-A92A-4ABD-8335-D384C17BF55C}" type="presParOf" srcId="{24D0083A-E056-41F9-B8BF-BBB8CEB1ACC7}" destId="{39387D2B-697A-4D13-8E13-7DA20AC1BE82}" srcOrd="2" destOrd="0" presId="urn:microsoft.com/office/officeart/2005/8/layout/process1"/>
    <dgm:cxn modelId="{067C0F83-E52F-4769-9880-50374960F87C}" type="presParOf" srcId="{24D0083A-E056-41F9-B8BF-BBB8CEB1ACC7}" destId="{C15A0E37-AFCA-46BF-A517-3B8C1529773B}" srcOrd="3" destOrd="0" presId="urn:microsoft.com/office/officeart/2005/8/layout/process1"/>
    <dgm:cxn modelId="{2824BB40-598F-48C2-B8D0-0AF526B6D306}" type="presParOf" srcId="{C15A0E37-AFCA-46BF-A517-3B8C1529773B}" destId="{3693602B-62A2-4059-B027-54956660736F}" srcOrd="0" destOrd="0" presId="urn:microsoft.com/office/officeart/2005/8/layout/process1"/>
    <dgm:cxn modelId="{DD74028D-1E34-4A01-9C5E-457660642D30}" type="presParOf" srcId="{24D0083A-E056-41F9-B8BF-BBB8CEB1ACC7}" destId="{A25F00BB-5EF5-4A47-9089-B3260C3A1E65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5E3E33F-7E06-4E53-8F12-65DFA1107A11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744E1EED-C79A-4FDB-AB6D-4056E9B7E91E}">
      <dgm:prSet phldrT="[Text]" custT="1"/>
      <dgm:spPr/>
      <dgm:t>
        <a:bodyPr/>
        <a:lstStyle/>
        <a:p>
          <a:r>
            <a:rPr lang="en-US" sz="2000" dirty="0"/>
            <a:t>Standard </a:t>
          </a:r>
          <a:r>
            <a:rPr lang="en-US" sz="2000" dirty="0" smtClean="0"/>
            <a:t>Pathway </a:t>
          </a:r>
        </a:p>
        <a:p>
          <a:r>
            <a:rPr lang="en-US" sz="2000" dirty="0" smtClean="0"/>
            <a:t>(2 semesters)</a:t>
          </a:r>
          <a:endParaRPr lang="en-US" sz="2000" dirty="0"/>
        </a:p>
      </dgm:t>
    </dgm:pt>
    <dgm:pt modelId="{CF9B607F-809F-4661-852C-61368C8F4CBF}" type="parTrans" cxnId="{45FE34A5-1047-47B4-AE76-76112D343EA8}">
      <dgm:prSet/>
      <dgm:spPr/>
      <dgm:t>
        <a:bodyPr/>
        <a:lstStyle/>
        <a:p>
          <a:endParaRPr lang="en-US"/>
        </a:p>
      </dgm:t>
    </dgm:pt>
    <dgm:pt modelId="{E2A47B40-40BE-46CA-9375-CB8723E94098}" type="sibTrans" cxnId="{45FE34A5-1047-47B4-AE76-76112D343EA8}">
      <dgm:prSet/>
      <dgm:spPr/>
      <dgm:t>
        <a:bodyPr/>
        <a:lstStyle/>
        <a:p>
          <a:endParaRPr lang="en-US"/>
        </a:p>
      </dgm:t>
    </dgm:pt>
    <dgm:pt modelId="{F3AC6EC0-1506-4F37-B94D-410B61B326A5}">
      <dgm:prSet phldrT="[Text]" custT="1"/>
      <dgm:spPr/>
      <dgm:t>
        <a:bodyPr/>
        <a:lstStyle/>
        <a:p>
          <a:r>
            <a:rPr lang="en-US" sz="2000" dirty="0"/>
            <a:t>GPA 2.5</a:t>
          </a:r>
        </a:p>
        <a:p>
          <a:r>
            <a:rPr lang="en-US" sz="2000" dirty="0"/>
            <a:t>TOEFL 65</a:t>
          </a:r>
        </a:p>
        <a:p>
          <a:r>
            <a:rPr lang="en-US" sz="2000" dirty="0"/>
            <a:t>IELTS 5.5</a:t>
          </a:r>
        </a:p>
      </dgm:t>
    </dgm:pt>
    <dgm:pt modelId="{953230BA-04DB-4D4F-BD48-DB16817FE55F}" type="parTrans" cxnId="{5CE318AB-218B-485B-8270-211992B5B1E9}">
      <dgm:prSet/>
      <dgm:spPr/>
      <dgm:t>
        <a:bodyPr/>
        <a:lstStyle/>
        <a:p>
          <a:endParaRPr lang="en-US"/>
        </a:p>
      </dgm:t>
    </dgm:pt>
    <dgm:pt modelId="{5372BDC4-CD9D-48DE-8EA8-9C972B537A86}" type="sibTrans" cxnId="{5CE318AB-218B-485B-8270-211992B5B1E9}">
      <dgm:prSet/>
      <dgm:spPr/>
      <dgm:t>
        <a:bodyPr/>
        <a:lstStyle/>
        <a:p>
          <a:endParaRPr lang="en-US"/>
        </a:p>
      </dgm:t>
    </dgm:pt>
    <dgm:pt modelId="{99D039FE-68F3-472F-AE8A-E973B9E52AB9}">
      <dgm:prSet phldrT="[Text]"/>
      <dgm:spPr/>
      <dgm:t>
        <a:bodyPr/>
        <a:lstStyle/>
        <a:p>
          <a:r>
            <a:rPr lang="en-US" dirty="0"/>
            <a:t>2 semester ELI (Academic ENG, 6 </a:t>
          </a:r>
          <a:r>
            <a:rPr lang="en-US" dirty="0" err="1"/>
            <a:t>hrs</a:t>
          </a:r>
          <a:r>
            <a:rPr lang="en-US" dirty="0"/>
            <a:t>)</a:t>
          </a:r>
        </a:p>
        <a:p>
          <a:r>
            <a:rPr lang="en-US" dirty="0"/>
            <a:t>6-9 hours courses</a:t>
          </a:r>
        </a:p>
      </dgm:t>
    </dgm:pt>
    <dgm:pt modelId="{3E8F19A8-131B-4F7F-85CC-2160F9AD8646}" type="parTrans" cxnId="{F8B95B78-153D-4A20-B4D3-09CA22C83E7D}">
      <dgm:prSet/>
      <dgm:spPr/>
      <dgm:t>
        <a:bodyPr/>
        <a:lstStyle/>
        <a:p>
          <a:endParaRPr lang="en-US"/>
        </a:p>
      </dgm:t>
    </dgm:pt>
    <dgm:pt modelId="{A624EBAF-9BC8-45D4-A485-F1EADCE1A3B8}" type="sibTrans" cxnId="{F8B95B78-153D-4A20-B4D3-09CA22C83E7D}">
      <dgm:prSet/>
      <dgm:spPr/>
      <dgm:t>
        <a:bodyPr/>
        <a:lstStyle/>
        <a:p>
          <a:endParaRPr lang="en-US"/>
        </a:p>
      </dgm:t>
    </dgm:pt>
    <dgm:pt modelId="{24D0083A-E056-41F9-B8BF-BBB8CEB1ACC7}" type="pres">
      <dgm:prSet presAssocID="{35E3E33F-7E06-4E53-8F12-65DFA1107A11}" presName="Name0" presStyleCnt="0">
        <dgm:presLayoutVars>
          <dgm:dir/>
          <dgm:resizeHandles val="exact"/>
        </dgm:presLayoutVars>
      </dgm:prSet>
      <dgm:spPr/>
    </dgm:pt>
    <dgm:pt modelId="{D5B8AE38-3FA5-4DC1-9CDF-4C85EBA82B38}" type="pres">
      <dgm:prSet presAssocID="{744E1EED-C79A-4FDB-AB6D-4056E9B7E91E}" presName="node" presStyleLbl="node1" presStyleIdx="0" presStyleCnt="3" custScaleX="102613" custScaleY="8072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57A675-CD82-4C81-8010-AE3F53FD558F}" type="pres">
      <dgm:prSet presAssocID="{E2A47B40-40BE-46CA-9375-CB8723E94098}" presName="sibTrans" presStyleLbl="sibTrans2D1" presStyleIdx="0" presStyleCnt="2"/>
      <dgm:spPr/>
      <dgm:t>
        <a:bodyPr/>
        <a:lstStyle/>
        <a:p>
          <a:endParaRPr lang="en-US"/>
        </a:p>
      </dgm:t>
    </dgm:pt>
    <dgm:pt modelId="{619A507A-6D6E-4C10-922F-FC2E23250B51}" type="pres">
      <dgm:prSet presAssocID="{E2A47B40-40BE-46CA-9375-CB8723E94098}" presName="connectorText" presStyleLbl="sibTrans2D1" presStyleIdx="0" presStyleCnt="2"/>
      <dgm:spPr/>
      <dgm:t>
        <a:bodyPr/>
        <a:lstStyle/>
        <a:p>
          <a:endParaRPr lang="en-US"/>
        </a:p>
      </dgm:t>
    </dgm:pt>
    <dgm:pt modelId="{39387D2B-697A-4D13-8E13-7DA20AC1BE82}" type="pres">
      <dgm:prSet presAssocID="{F3AC6EC0-1506-4F37-B94D-410B61B326A5}" presName="node" presStyleLbl="node1" presStyleIdx="1" presStyleCnt="3" custScaleY="7838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15A0E37-AFCA-46BF-A517-3B8C1529773B}" type="pres">
      <dgm:prSet presAssocID="{5372BDC4-CD9D-48DE-8EA8-9C972B537A86}" presName="sibTrans" presStyleLbl="sibTrans2D1" presStyleIdx="1" presStyleCnt="2"/>
      <dgm:spPr/>
      <dgm:t>
        <a:bodyPr/>
        <a:lstStyle/>
        <a:p>
          <a:endParaRPr lang="en-US"/>
        </a:p>
      </dgm:t>
    </dgm:pt>
    <dgm:pt modelId="{3693602B-62A2-4059-B027-54956660736F}" type="pres">
      <dgm:prSet presAssocID="{5372BDC4-CD9D-48DE-8EA8-9C972B537A86}" presName="connectorText" presStyleLbl="sibTrans2D1" presStyleIdx="1" presStyleCnt="2"/>
      <dgm:spPr/>
      <dgm:t>
        <a:bodyPr/>
        <a:lstStyle/>
        <a:p>
          <a:endParaRPr lang="en-US"/>
        </a:p>
      </dgm:t>
    </dgm:pt>
    <dgm:pt modelId="{A25F00BB-5EF5-4A47-9089-B3260C3A1E65}" type="pres">
      <dgm:prSet presAssocID="{99D039FE-68F3-472F-AE8A-E973B9E52AB9}" presName="node" presStyleLbl="node1" presStyleIdx="2" presStyleCnt="3" custScaleY="7487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767E467-D262-411A-858B-86BE50D53E79}" type="presOf" srcId="{5372BDC4-CD9D-48DE-8EA8-9C972B537A86}" destId="{C15A0E37-AFCA-46BF-A517-3B8C1529773B}" srcOrd="0" destOrd="0" presId="urn:microsoft.com/office/officeart/2005/8/layout/process1"/>
    <dgm:cxn modelId="{E49A75BA-71CF-41EE-A554-E3B13E0947F8}" type="presOf" srcId="{5372BDC4-CD9D-48DE-8EA8-9C972B537A86}" destId="{3693602B-62A2-4059-B027-54956660736F}" srcOrd="1" destOrd="0" presId="urn:microsoft.com/office/officeart/2005/8/layout/process1"/>
    <dgm:cxn modelId="{45FE34A5-1047-47B4-AE76-76112D343EA8}" srcId="{35E3E33F-7E06-4E53-8F12-65DFA1107A11}" destId="{744E1EED-C79A-4FDB-AB6D-4056E9B7E91E}" srcOrd="0" destOrd="0" parTransId="{CF9B607F-809F-4661-852C-61368C8F4CBF}" sibTransId="{E2A47B40-40BE-46CA-9375-CB8723E94098}"/>
    <dgm:cxn modelId="{CE1C61E4-249F-4420-89D3-B452EF84D734}" type="presOf" srcId="{E2A47B40-40BE-46CA-9375-CB8723E94098}" destId="{619A507A-6D6E-4C10-922F-FC2E23250B51}" srcOrd="1" destOrd="0" presId="urn:microsoft.com/office/officeart/2005/8/layout/process1"/>
    <dgm:cxn modelId="{CC6ED447-A5E2-49A9-AD3C-DFBAAC36B2BC}" type="presOf" srcId="{99D039FE-68F3-472F-AE8A-E973B9E52AB9}" destId="{A25F00BB-5EF5-4A47-9089-B3260C3A1E65}" srcOrd="0" destOrd="0" presId="urn:microsoft.com/office/officeart/2005/8/layout/process1"/>
    <dgm:cxn modelId="{7FD6A705-2A90-4763-9AB6-B6CA0E9E4174}" type="presOf" srcId="{F3AC6EC0-1506-4F37-B94D-410B61B326A5}" destId="{39387D2B-697A-4D13-8E13-7DA20AC1BE82}" srcOrd="0" destOrd="0" presId="urn:microsoft.com/office/officeart/2005/8/layout/process1"/>
    <dgm:cxn modelId="{BE0D807D-92EA-4A75-AA52-1052ADBC2941}" type="presOf" srcId="{E2A47B40-40BE-46CA-9375-CB8723E94098}" destId="{CF57A675-CD82-4C81-8010-AE3F53FD558F}" srcOrd="0" destOrd="0" presId="urn:microsoft.com/office/officeart/2005/8/layout/process1"/>
    <dgm:cxn modelId="{ACB7B31E-A8E5-4BF6-B2D0-0F4B5EF224ED}" type="presOf" srcId="{35E3E33F-7E06-4E53-8F12-65DFA1107A11}" destId="{24D0083A-E056-41F9-B8BF-BBB8CEB1ACC7}" srcOrd="0" destOrd="0" presId="urn:microsoft.com/office/officeart/2005/8/layout/process1"/>
    <dgm:cxn modelId="{8B62EAA5-0AB0-4E37-9001-AD5BC232E726}" type="presOf" srcId="{744E1EED-C79A-4FDB-AB6D-4056E9B7E91E}" destId="{D5B8AE38-3FA5-4DC1-9CDF-4C85EBA82B38}" srcOrd="0" destOrd="0" presId="urn:microsoft.com/office/officeart/2005/8/layout/process1"/>
    <dgm:cxn modelId="{5CE318AB-218B-485B-8270-211992B5B1E9}" srcId="{35E3E33F-7E06-4E53-8F12-65DFA1107A11}" destId="{F3AC6EC0-1506-4F37-B94D-410B61B326A5}" srcOrd="1" destOrd="0" parTransId="{953230BA-04DB-4D4F-BD48-DB16817FE55F}" sibTransId="{5372BDC4-CD9D-48DE-8EA8-9C972B537A86}"/>
    <dgm:cxn modelId="{F8B95B78-153D-4A20-B4D3-09CA22C83E7D}" srcId="{35E3E33F-7E06-4E53-8F12-65DFA1107A11}" destId="{99D039FE-68F3-472F-AE8A-E973B9E52AB9}" srcOrd="2" destOrd="0" parTransId="{3E8F19A8-131B-4F7F-85CC-2160F9AD8646}" sibTransId="{A624EBAF-9BC8-45D4-A485-F1EADCE1A3B8}"/>
    <dgm:cxn modelId="{9B72703F-7A64-4B26-90A2-150709FB3D4B}" type="presParOf" srcId="{24D0083A-E056-41F9-B8BF-BBB8CEB1ACC7}" destId="{D5B8AE38-3FA5-4DC1-9CDF-4C85EBA82B38}" srcOrd="0" destOrd="0" presId="urn:microsoft.com/office/officeart/2005/8/layout/process1"/>
    <dgm:cxn modelId="{78815F5E-B882-4153-A822-2894DF709DD3}" type="presParOf" srcId="{24D0083A-E056-41F9-B8BF-BBB8CEB1ACC7}" destId="{CF57A675-CD82-4C81-8010-AE3F53FD558F}" srcOrd="1" destOrd="0" presId="urn:microsoft.com/office/officeart/2005/8/layout/process1"/>
    <dgm:cxn modelId="{2E2F79BD-D1E1-4E28-918B-3160E90D9E81}" type="presParOf" srcId="{CF57A675-CD82-4C81-8010-AE3F53FD558F}" destId="{619A507A-6D6E-4C10-922F-FC2E23250B51}" srcOrd="0" destOrd="0" presId="urn:microsoft.com/office/officeart/2005/8/layout/process1"/>
    <dgm:cxn modelId="{B3D6BFB8-D765-4A4F-9787-514D6B31C71E}" type="presParOf" srcId="{24D0083A-E056-41F9-B8BF-BBB8CEB1ACC7}" destId="{39387D2B-697A-4D13-8E13-7DA20AC1BE82}" srcOrd="2" destOrd="0" presId="urn:microsoft.com/office/officeart/2005/8/layout/process1"/>
    <dgm:cxn modelId="{56A23F80-1B8C-48EB-9C42-1BB8BE726C83}" type="presParOf" srcId="{24D0083A-E056-41F9-B8BF-BBB8CEB1ACC7}" destId="{C15A0E37-AFCA-46BF-A517-3B8C1529773B}" srcOrd="3" destOrd="0" presId="urn:microsoft.com/office/officeart/2005/8/layout/process1"/>
    <dgm:cxn modelId="{7D16695D-C222-4D58-B7AF-B30154A8BB35}" type="presParOf" srcId="{C15A0E37-AFCA-46BF-A517-3B8C1529773B}" destId="{3693602B-62A2-4059-B027-54956660736F}" srcOrd="0" destOrd="0" presId="urn:microsoft.com/office/officeart/2005/8/layout/process1"/>
    <dgm:cxn modelId="{CC8546F9-7F33-45D4-955E-98334CC3E0B6}" type="presParOf" srcId="{24D0083A-E056-41F9-B8BF-BBB8CEB1ACC7}" destId="{A25F00BB-5EF5-4A47-9089-B3260C3A1E65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35E3E33F-7E06-4E53-8F12-65DFA1107A11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744E1EED-C79A-4FDB-AB6D-4056E9B7E91E}">
      <dgm:prSet phldrT="[Text]"/>
      <dgm:spPr/>
      <dgm:t>
        <a:bodyPr/>
        <a:lstStyle/>
        <a:p>
          <a:r>
            <a:rPr lang="en-US" dirty="0" smtClean="0"/>
            <a:t>Progression requirements for matriculation</a:t>
          </a:r>
          <a:endParaRPr lang="en-US" dirty="0"/>
        </a:p>
      </dgm:t>
    </dgm:pt>
    <dgm:pt modelId="{CF9B607F-809F-4661-852C-61368C8F4CBF}" type="parTrans" cxnId="{45FE34A5-1047-47B4-AE76-76112D343EA8}">
      <dgm:prSet/>
      <dgm:spPr/>
      <dgm:t>
        <a:bodyPr/>
        <a:lstStyle/>
        <a:p>
          <a:endParaRPr lang="en-US"/>
        </a:p>
      </dgm:t>
    </dgm:pt>
    <dgm:pt modelId="{E2A47B40-40BE-46CA-9375-CB8723E94098}" type="sibTrans" cxnId="{45FE34A5-1047-47B4-AE76-76112D343EA8}">
      <dgm:prSet/>
      <dgm:spPr/>
      <dgm:t>
        <a:bodyPr/>
        <a:lstStyle/>
        <a:p>
          <a:endParaRPr lang="en-US"/>
        </a:p>
      </dgm:t>
    </dgm:pt>
    <dgm:pt modelId="{F3AC6EC0-1506-4F37-B94D-410B61B326A5}">
      <dgm:prSet phldrT="[Text]"/>
      <dgm:spPr/>
      <dgm:t>
        <a:bodyPr/>
        <a:lstStyle/>
        <a:p>
          <a:r>
            <a:rPr lang="en-US" dirty="0"/>
            <a:t>GPA 3.0</a:t>
          </a:r>
        </a:p>
        <a:p>
          <a:r>
            <a:rPr lang="en-US" dirty="0"/>
            <a:t>B or better</a:t>
          </a:r>
        </a:p>
        <a:p>
          <a:r>
            <a:rPr lang="en-US" dirty="0"/>
            <a:t>No I or WX</a:t>
          </a:r>
        </a:p>
      </dgm:t>
    </dgm:pt>
    <dgm:pt modelId="{953230BA-04DB-4D4F-BD48-DB16817FE55F}" type="parTrans" cxnId="{5CE318AB-218B-485B-8270-211992B5B1E9}">
      <dgm:prSet/>
      <dgm:spPr/>
      <dgm:t>
        <a:bodyPr/>
        <a:lstStyle/>
        <a:p>
          <a:endParaRPr lang="en-US"/>
        </a:p>
      </dgm:t>
    </dgm:pt>
    <dgm:pt modelId="{5372BDC4-CD9D-48DE-8EA8-9C972B537A86}" type="sibTrans" cxnId="{5CE318AB-218B-485B-8270-211992B5B1E9}">
      <dgm:prSet/>
      <dgm:spPr/>
      <dgm:t>
        <a:bodyPr/>
        <a:lstStyle/>
        <a:p>
          <a:endParaRPr lang="en-US"/>
        </a:p>
      </dgm:t>
    </dgm:pt>
    <dgm:pt modelId="{99D039FE-68F3-472F-AE8A-E973B9E52AB9}">
      <dgm:prSet phldrT="[Text]"/>
      <dgm:spPr/>
      <dgm:t>
        <a:bodyPr/>
        <a:lstStyle/>
        <a:p>
          <a:r>
            <a:rPr lang="en-US" dirty="0"/>
            <a:t>Standard courses</a:t>
          </a:r>
        </a:p>
      </dgm:t>
    </dgm:pt>
    <dgm:pt modelId="{3E8F19A8-131B-4F7F-85CC-2160F9AD8646}" type="parTrans" cxnId="{F8B95B78-153D-4A20-B4D3-09CA22C83E7D}">
      <dgm:prSet/>
      <dgm:spPr/>
      <dgm:t>
        <a:bodyPr/>
        <a:lstStyle/>
        <a:p>
          <a:endParaRPr lang="en-US"/>
        </a:p>
      </dgm:t>
    </dgm:pt>
    <dgm:pt modelId="{A624EBAF-9BC8-45D4-A485-F1EADCE1A3B8}" type="sibTrans" cxnId="{F8B95B78-153D-4A20-B4D3-09CA22C83E7D}">
      <dgm:prSet/>
      <dgm:spPr/>
      <dgm:t>
        <a:bodyPr/>
        <a:lstStyle/>
        <a:p>
          <a:endParaRPr lang="en-US"/>
        </a:p>
      </dgm:t>
    </dgm:pt>
    <dgm:pt modelId="{24D0083A-E056-41F9-B8BF-BBB8CEB1ACC7}" type="pres">
      <dgm:prSet presAssocID="{35E3E33F-7E06-4E53-8F12-65DFA1107A11}" presName="Name0" presStyleCnt="0">
        <dgm:presLayoutVars>
          <dgm:dir/>
          <dgm:resizeHandles val="exact"/>
        </dgm:presLayoutVars>
      </dgm:prSet>
      <dgm:spPr/>
    </dgm:pt>
    <dgm:pt modelId="{D5B8AE38-3FA5-4DC1-9CDF-4C85EBA82B38}" type="pres">
      <dgm:prSet presAssocID="{744E1EED-C79A-4FDB-AB6D-4056E9B7E91E}" presName="node" presStyleLbl="node1" presStyleIdx="0" presStyleCnt="3" custScaleX="105290" custScaleY="83043" custLinFactNeighborX="314" custLinFactNeighborY="1001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57A675-CD82-4C81-8010-AE3F53FD558F}" type="pres">
      <dgm:prSet presAssocID="{E2A47B40-40BE-46CA-9375-CB8723E94098}" presName="sibTrans" presStyleLbl="sibTrans2D1" presStyleIdx="0" presStyleCnt="2"/>
      <dgm:spPr/>
      <dgm:t>
        <a:bodyPr/>
        <a:lstStyle/>
        <a:p>
          <a:endParaRPr lang="en-US"/>
        </a:p>
      </dgm:t>
    </dgm:pt>
    <dgm:pt modelId="{619A507A-6D6E-4C10-922F-FC2E23250B51}" type="pres">
      <dgm:prSet presAssocID="{E2A47B40-40BE-46CA-9375-CB8723E94098}" presName="connectorText" presStyleLbl="sibTrans2D1" presStyleIdx="0" presStyleCnt="2"/>
      <dgm:spPr/>
      <dgm:t>
        <a:bodyPr/>
        <a:lstStyle/>
        <a:p>
          <a:endParaRPr lang="en-US"/>
        </a:p>
      </dgm:t>
    </dgm:pt>
    <dgm:pt modelId="{39387D2B-697A-4D13-8E13-7DA20AC1BE82}" type="pres">
      <dgm:prSet presAssocID="{F3AC6EC0-1506-4F37-B94D-410B61B326A5}" presName="node" presStyleLbl="node1" presStyleIdx="1" presStyleCnt="3" custScaleY="82237" custLinFactNeighborX="-5488" custLinFactNeighborY="88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15A0E37-AFCA-46BF-A517-3B8C1529773B}" type="pres">
      <dgm:prSet presAssocID="{5372BDC4-CD9D-48DE-8EA8-9C972B537A86}" presName="sibTrans" presStyleLbl="sibTrans2D1" presStyleIdx="1" presStyleCnt="2"/>
      <dgm:spPr/>
      <dgm:t>
        <a:bodyPr/>
        <a:lstStyle/>
        <a:p>
          <a:endParaRPr lang="en-US"/>
        </a:p>
      </dgm:t>
    </dgm:pt>
    <dgm:pt modelId="{3693602B-62A2-4059-B027-54956660736F}" type="pres">
      <dgm:prSet presAssocID="{5372BDC4-CD9D-48DE-8EA8-9C972B537A86}" presName="connectorText" presStyleLbl="sibTrans2D1" presStyleIdx="1" presStyleCnt="2"/>
      <dgm:spPr/>
      <dgm:t>
        <a:bodyPr/>
        <a:lstStyle/>
        <a:p>
          <a:endParaRPr lang="en-US"/>
        </a:p>
      </dgm:t>
    </dgm:pt>
    <dgm:pt modelId="{A25F00BB-5EF5-4A47-9089-B3260C3A1E65}" type="pres">
      <dgm:prSet presAssocID="{99D039FE-68F3-472F-AE8A-E973B9E52AB9}" presName="node" presStyleLbl="node1" presStyleIdx="2" presStyleCnt="3" custScaleY="77523" custLinFactNeighborX="1622" custLinFactNeighborY="106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A720029-122B-47F3-BFD8-F107ED8827BE}" type="presOf" srcId="{F3AC6EC0-1506-4F37-B94D-410B61B326A5}" destId="{39387D2B-697A-4D13-8E13-7DA20AC1BE82}" srcOrd="0" destOrd="0" presId="urn:microsoft.com/office/officeart/2005/8/layout/process1"/>
    <dgm:cxn modelId="{17F1A4E4-DA6D-488C-86C5-86283212DA71}" type="presOf" srcId="{5372BDC4-CD9D-48DE-8EA8-9C972B537A86}" destId="{3693602B-62A2-4059-B027-54956660736F}" srcOrd="1" destOrd="0" presId="urn:microsoft.com/office/officeart/2005/8/layout/process1"/>
    <dgm:cxn modelId="{B36DB283-A8E7-4B4B-9BCC-94A95181F228}" type="presOf" srcId="{5372BDC4-CD9D-48DE-8EA8-9C972B537A86}" destId="{C15A0E37-AFCA-46BF-A517-3B8C1529773B}" srcOrd="0" destOrd="0" presId="urn:microsoft.com/office/officeart/2005/8/layout/process1"/>
    <dgm:cxn modelId="{45FE34A5-1047-47B4-AE76-76112D343EA8}" srcId="{35E3E33F-7E06-4E53-8F12-65DFA1107A11}" destId="{744E1EED-C79A-4FDB-AB6D-4056E9B7E91E}" srcOrd="0" destOrd="0" parTransId="{CF9B607F-809F-4661-852C-61368C8F4CBF}" sibTransId="{E2A47B40-40BE-46CA-9375-CB8723E94098}"/>
    <dgm:cxn modelId="{CF77E97F-F026-4789-A59E-09E803FC349C}" type="presOf" srcId="{35E3E33F-7E06-4E53-8F12-65DFA1107A11}" destId="{24D0083A-E056-41F9-B8BF-BBB8CEB1ACC7}" srcOrd="0" destOrd="0" presId="urn:microsoft.com/office/officeart/2005/8/layout/process1"/>
    <dgm:cxn modelId="{4249F715-2810-488D-AEF5-5682470AA2BB}" type="presOf" srcId="{744E1EED-C79A-4FDB-AB6D-4056E9B7E91E}" destId="{D5B8AE38-3FA5-4DC1-9CDF-4C85EBA82B38}" srcOrd="0" destOrd="0" presId="urn:microsoft.com/office/officeart/2005/8/layout/process1"/>
    <dgm:cxn modelId="{D16FED13-E6CF-4FB2-92C8-11FD1F0EA0CF}" type="presOf" srcId="{E2A47B40-40BE-46CA-9375-CB8723E94098}" destId="{619A507A-6D6E-4C10-922F-FC2E23250B51}" srcOrd="1" destOrd="0" presId="urn:microsoft.com/office/officeart/2005/8/layout/process1"/>
    <dgm:cxn modelId="{8C282A73-9B81-4AE4-AECC-6C514EE13876}" type="presOf" srcId="{E2A47B40-40BE-46CA-9375-CB8723E94098}" destId="{CF57A675-CD82-4C81-8010-AE3F53FD558F}" srcOrd="0" destOrd="0" presId="urn:microsoft.com/office/officeart/2005/8/layout/process1"/>
    <dgm:cxn modelId="{5CE318AB-218B-485B-8270-211992B5B1E9}" srcId="{35E3E33F-7E06-4E53-8F12-65DFA1107A11}" destId="{F3AC6EC0-1506-4F37-B94D-410B61B326A5}" srcOrd="1" destOrd="0" parTransId="{953230BA-04DB-4D4F-BD48-DB16817FE55F}" sibTransId="{5372BDC4-CD9D-48DE-8EA8-9C972B537A86}"/>
    <dgm:cxn modelId="{DD4C4B72-1DDF-4C2D-A44B-7D406FD0E307}" type="presOf" srcId="{99D039FE-68F3-472F-AE8A-E973B9E52AB9}" destId="{A25F00BB-5EF5-4A47-9089-B3260C3A1E65}" srcOrd="0" destOrd="0" presId="urn:microsoft.com/office/officeart/2005/8/layout/process1"/>
    <dgm:cxn modelId="{F8B95B78-153D-4A20-B4D3-09CA22C83E7D}" srcId="{35E3E33F-7E06-4E53-8F12-65DFA1107A11}" destId="{99D039FE-68F3-472F-AE8A-E973B9E52AB9}" srcOrd="2" destOrd="0" parTransId="{3E8F19A8-131B-4F7F-85CC-2160F9AD8646}" sibTransId="{A624EBAF-9BC8-45D4-A485-F1EADCE1A3B8}"/>
    <dgm:cxn modelId="{39EE249F-0D50-4D14-8B73-5D6109CBEAE0}" type="presParOf" srcId="{24D0083A-E056-41F9-B8BF-BBB8CEB1ACC7}" destId="{D5B8AE38-3FA5-4DC1-9CDF-4C85EBA82B38}" srcOrd="0" destOrd="0" presId="urn:microsoft.com/office/officeart/2005/8/layout/process1"/>
    <dgm:cxn modelId="{33D68ABA-E53C-40D2-B613-C83EE72E69EE}" type="presParOf" srcId="{24D0083A-E056-41F9-B8BF-BBB8CEB1ACC7}" destId="{CF57A675-CD82-4C81-8010-AE3F53FD558F}" srcOrd="1" destOrd="0" presId="urn:microsoft.com/office/officeart/2005/8/layout/process1"/>
    <dgm:cxn modelId="{C4705A2E-5696-4C74-9AB0-6354257747D8}" type="presParOf" srcId="{CF57A675-CD82-4C81-8010-AE3F53FD558F}" destId="{619A507A-6D6E-4C10-922F-FC2E23250B51}" srcOrd="0" destOrd="0" presId="urn:microsoft.com/office/officeart/2005/8/layout/process1"/>
    <dgm:cxn modelId="{DF18440E-06EF-4330-AB28-76688FD2A144}" type="presParOf" srcId="{24D0083A-E056-41F9-B8BF-BBB8CEB1ACC7}" destId="{39387D2B-697A-4D13-8E13-7DA20AC1BE82}" srcOrd="2" destOrd="0" presId="urn:microsoft.com/office/officeart/2005/8/layout/process1"/>
    <dgm:cxn modelId="{148BF404-8EEC-465C-BFE6-90C133C3B4C1}" type="presParOf" srcId="{24D0083A-E056-41F9-B8BF-BBB8CEB1ACC7}" destId="{C15A0E37-AFCA-46BF-A517-3B8C1529773B}" srcOrd="3" destOrd="0" presId="urn:microsoft.com/office/officeart/2005/8/layout/process1"/>
    <dgm:cxn modelId="{1046A7AA-7E6A-4797-A17C-BD3B15A66B67}" type="presParOf" srcId="{C15A0E37-AFCA-46BF-A517-3B8C1529773B}" destId="{3693602B-62A2-4059-B027-54956660736F}" srcOrd="0" destOrd="0" presId="urn:microsoft.com/office/officeart/2005/8/layout/process1"/>
    <dgm:cxn modelId="{365A9D4D-5CB2-4FE9-BD42-63E73A5079B8}" type="presParOf" srcId="{24D0083A-E056-41F9-B8BF-BBB8CEB1ACC7}" destId="{A25F00BB-5EF5-4A47-9089-B3260C3A1E65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B8AE38-3FA5-4DC1-9CDF-4C85EBA82B38}">
      <dsp:nvSpPr>
        <dsp:cNvPr id="0" name=""/>
        <dsp:cNvSpPr/>
      </dsp:nvSpPr>
      <dsp:spPr>
        <a:xfrm>
          <a:off x="0" y="557265"/>
          <a:ext cx="3000558" cy="141429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Direct Entry</a:t>
          </a:r>
        </a:p>
      </dsp:txBody>
      <dsp:txXfrm>
        <a:off x="41423" y="598688"/>
        <a:ext cx="2917712" cy="1331451"/>
      </dsp:txXfrm>
    </dsp:sp>
    <dsp:sp modelId="{CF57A675-CD82-4C81-8010-AE3F53FD558F}">
      <dsp:nvSpPr>
        <dsp:cNvPr id="0" name=""/>
        <dsp:cNvSpPr/>
      </dsp:nvSpPr>
      <dsp:spPr>
        <a:xfrm rot="22314">
          <a:off x="3298015" y="910305"/>
          <a:ext cx="630635" cy="73564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>
        <a:off x="3298017" y="1056821"/>
        <a:ext cx="441445" cy="441389"/>
      </dsp:txXfrm>
    </dsp:sp>
    <dsp:sp modelId="{39387D2B-697A-4D13-8E13-7DA20AC1BE82}">
      <dsp:nvSpPr>
        <dsp:cNvPr id="0" name=""/>
        <dsp:cNvSpPr/>
      </dsp:nvSpPr>
      <dsp:spPr>
        <a:xfrm>
          <a:off x="4190412" y="569937"/>
          <a:ext cx="2966327" cy="144313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GPA 2.8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TOEFL 79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IELTS 6.5</a:t>
          </a:r>
        </a:p>
      </dsp:txBody>
      <dsp:txXfrm>
        <a:off x="4232680" y="612205"/>
        <a:ext cx="2881791" cy="1358594"/>
      </dsp:txXfrm>
    </dsp:sp>
    <dsp:sp modelId="{C15A0E37-AFCA-46BF-A517-3B8C1529773B}">
      <dsp:nvSpPr>
        <dsp:cNvPr id="0" name=""/>
        <dsp:cNvSpPr/>
      </dsp:nvSpPr>
      <dsp:spPr>
        <a:xfrm>
          <a:off x="7453372" y="923678"/>
          <a:ext cx="628861" cy="73564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>
        <a:off x="7453372" y="1070808"/>
        <a:ext cx="440203" cy="441389"/>
      </dsp:txXfrm>
    </dsp:sp>
    <dsp:sp modelId="{A25F00BB-5EF5-4A47-9089-B3260C3A1E65}">
      <dsp:nvSpPr>
        <dsp:cNvPr id="0" name=""/>
        <dsp:cNvSpPr/>
      </dsp:nvSpPr>
      <dsp:spPr>
        <a:xfrm>
          <a:off x="8343270" y="621890"/>
          <a:ext cx="2966327" cy="133922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Standard </a:t>
          </a:r>
          <a:r>
            <a:rPr lang="en-US" sz="2200" kern="1200" dirty="0" smtClean="0"/>
            <a:t>courses; direct matriculation</a:t>
          </a:r>
          <a:endParaRPr lang="en-US" sz="2200" kern="1200" dirty="0"/>
        </a:p>
      </dsp:txBody>
      <dsp:txXfrm>
        <a:off x="8382495" y="661115"/>
        <a:ext cx="2887877" cy="126077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B8AE38-3FA5-4DC1-9CDF-4C85EBA82B38}">
      <dsp:nvSpPr>
        <dsp:cNvPr id="0" name=""/>
        <dsp:cNvSpPr/>
      </dsp:nvSpPr>
      <dsp:spPr>
        <a:xfrm>
          <a:off x="0" y="638686"/>
          <a:ext cx="2977130" cy="14914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Accelerated </a:t>
          </a:r>
          <a:r>
            <a:rPr lang="en-US" sz="2000" kern="1200" dirty="0" smtClean="0"/>
            <a:t>Pathway 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(1 semester)</a:t>
          </a:r>
          <a:endParaRPr lang="en-US" sz="2000" kern="1200" dirty="0"/>
        </a:p>
      </dsp:txBody>
      <dsp:txXfrm>
        <a:off x="43683" y="682369"/>
        <a:ext cx="2889764" cy="1404087"/>
      </dsp:txXfrm>
    </dsp:sp>
    <dsp:sp modelId="{CF57A675-CD82-4C81-8010-AE3F53FD558F}">
      <dsp:nvSpPr>
        <dsp:cNvPr id="0" name=""/>
        <dsp:cNvSpPr/>
      </dsp:nvSpPr>
      <dsp:spPr>
        <a:xfrm rot="51586">
          <a:off x="3277297" y="1046868"/>
          <a:ext cx="636502" cy="73832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700" kern="1200"/>
        </a:p>
      </dsp:txBody>
      <dsp:txXfrm>
        <a:off x="3277308" y="1193101"/>
        <a:ext cx="445551" cy="442996"/>
      </dsp:txXfrm>
    </dsp:sp>
    <dsp:sp modelId="{39387D2B-697A-4D13-8E13-7DA20AC1BE82}">
      <dsp:nvSpPr>
        <dsp:cNvPr id="0" name=""/>
        <dsp:cNvSpPr/>
      </dsp:nvSpPr>
      <dsp:spPr>
        <a:xfrm>
          <a:off x="4177943" y="784857"/>
          <a:ext cx="2977130" cy="132450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GPA </a:t>
          </a:r>
          <a:r>
            <a:rPr lang="en-US" sz="2000" kern="1200" dirty="0" smtClean="0"/>
            <a:t>2.25</a:t>
          </a:r>
          <a:endParaRPr lang="en-US" sz="2000" kern="1200" dirty="0"/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TOEFL 79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IELTS 6.5</a:t>
          </a:r>
        </a:p>
      </dsp:txBody>
      <dsp:txXfrm>
        <a:off x="4216736" y="823650"/>
        <a:ext cx="2899544" cy="1246921"/>
      </dsp:txXfrm>
    </dsp:sp>
    <dsp:sp modelId="{C15A0E37-AFCA-46BF-A517-3B8C1529773B}">
      <dsp:nvSpPr>
        <dsp:cNvPr id="0" name=""/>
        <dsp:cNvSpPr/>
      </dsp:nvSpPr>
      <dsp:spPr>
        <a:xfrm>
          <a:off x="7452786" y="1077947"/>
          <a:ext cx="631151" cy="73832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700" kern="1200"/>
        </a:p>
      </dsp:txBody>
      <dsp:txXfrm>
        <a:off x="7452786" y="1225613"/>
        <a:ext cx="441806" cy="442996"/>
      </dsp:txXfrm>
    </dsp:sp>
    <dsp:sp modelId="{A25F00BB-5EF5-4A47-9089-B3260C3A1E65}">
      <dsp:nvSpPr>
        <dsp:cNvPr id="0" name=""/>
        <dsp:cNvSpPr/>
      </dsp:nvSpPr>
      <dsp:spPr>
        <a:xfrm>
          <a:off x="8345925" y="805641"/>
          <a:ext cx="2977130" cy="128294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1 semester ELI (Academic ENG, 3 </a:t>
          </a:r>
          <a:r>
            <a:rPr lang="en-US" sz="2100" kern="1200" dirty="0" err="1"/>
            <a:t>hrs</a:t>
          </a:r>
          <a:r>
            <a:rPr lang="en-US" sz="2100" kern="1200" dirty="0"/>
            <a:t>)</a:t>
          </a:r>
        </a:p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6-9 hours courses</a:t>
          </a:r>
        </a:p>
      </dsp:txBody>
      <dsp:txXfrm>
        <a:off x="8383501" y="843217"/>
        <a:ext cx="2901978" cy="120778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B8AE38-3FA5-4DC1-9CDF-4C85EBA82B38}">
      <dsp:nvSpPr>
        <dsp:cNvPr id="0" name=""/>
        <dsp:cNvSpPr/>
      </dsp:nvSpPr>
      <dsp:spPr>
        <a:xfrm>
          <a:off x="2823" y="730136"/>
          <a:ext cx="3037887" cy="14339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Standard </a:t>
          </a:r>
          <a:r>
            <a:rPr lang="en-US" sz="2000" kern="1200" dirty="0" smtClean="0"/>
            <a:t>Pathway 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(2 semesters)</a:t>
          </a:r>
          <a:endParaRPr lang="en-US" sz="2000" kern="1200" dirty="0"/>
        </a:p>
      </dsp:txBody>
      <dsp:txXfrm>
        <a:off x="44822" y="772135"/>
        <a:ext cx="2953889" cy="1349952"/>
      </dsp:txXfrm>
    </dsp:sp>
    <dsp:sp modelId="{CF57A675-CD82-4C81-8010-AE3F53FD558F}">
      <dsp:nvSpPr>
        <dsp:cNvPr id="0" name=""/>
        <dsp:cNvSpPr/>
      </dsp:nvSpPr>
      <dsp:spPr>
        <a:xfrm>
          <a:off x="3336764" y="1080005"/>
          <a:ext cx="627632" cy="73421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>
        <a:off x="3336764" y="1226847"/>
        <a:ext cx="439342" cy="440527"/>
      </dsp:txXfrm>
    </dsp:sp>
    <dsp:sp modelId="{39387D2B-697A-4D13-8E13-7DA20AC1BE82}">
      <dsp:nvSpPr>
        <dsp:cNvPr id="0" name=""/>
        <dsp:cNvSpPr/>
      </dsp:nvSpPr>
      <dsp:spPr>
        <a:xfrm>
          <a:off x="4224923" y="750919"/>
          <a:ext cx="2960529" cy="13923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GPA </a:t>
          </a:r>
          <a:r>
            <a:rPr lang="en-US" sz="2000" kern="1200" dirty="0" smtClean="0"/>
            <a:t>2.25</a:t>
          </a:r>
          <a:endParaRPr lang="en-US" sz="2000" kern="1200" dirty="0"/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TOEFL 65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IELTS 5.5</a:t>
          </a:r>
        </a:p>
      </dsp:txBody>
      <dsp:txXfrm>
        <a:off x="4265705" y="791701"/>
        <a:ext cx="2878965" cy="1310820"/>
      </dsp:txXfrm>
    </dsp:sp>
    <dsp:sp modelId="{C15A0E37-AFCA-46BF-A517-3B8C1529773B}">
      <dsp:nvSpPr>
        <dsp:cNvPr id="0" name=""/>
        <dsp:cNvSpPr/>
      </dsp:nvSpPr>
      <dsp:spPr>
        <a:xfrm>
          <a:off x="7481505" y="1080005"/>
          <a:ext cx="627632" cy="73421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>
        <a:off x="7481505" y="1226847"/>
        <a:ext cx="439342" cy="440527"/>
      </dsp:txXfrm>
    </dsp:sp>
    <dsp:sp modelId="{A25F00BB-5EF5-4A47-9089-B3260C3A1E65}">
      <dsp:nvSpPr>
        <dsp:cNvPr id="0" name=""/>
        <dsp:cNvSpPr/>
      </dsp:nvSpPr>
      <dsp:spPr>
        <a:xfrm>
          <a:off x="8369664" y="782084"/>
          <a:ext cx="2960529" cy="13300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2 semester ELI (Academic ENG, 6 </a:t>
          </a:r>
          <a:r>
            <a:rPr lang="en-US" sz="2200" kern="1200" dirty="0" err="1"/>
            <a:t>hrs</a:t>
          </a:r>
          <a:r>
            <a:rPr lang="en-US" sz="2200" kern="1200" dirty="0"/>
            <a:t>)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6-9 hours courses</a:t>
          </a:r>
        </a:p>
      </dsp:txBody>
      <dsp:txXfrm>
        <a:off x="8408620" y="821040"/>
        <a:ext cx="2882617" cy="125214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B8AE38-3FA5-4DC1-9CDF-4C85EBA82B38}">
      <dsp:nvSpPr>
        <dsp:cNvPr id="0" name=""/>
        <dsp:cNvSpPr/>
      </dsp:nvSpPr>
      <dsp:spPr>
        <a:xfrm>
          <a:off x="9528" y="891710"/>
          <a:ext cx="3093835" cy="146407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Progression requirements for matriculation</a:t>
          </a:r>
          <a:endParaRPr lang="en-US" sz="2200" kern="1200" dirty="0"/>
        </a:p>
      </dsp:txBody>
      <dsp:txXfrm>
        <a:off x="52409" y="934591"/>
        <a:ext cx="3008073" cy="1378316"/>
      </dsp:txXfrm>
    </dsp:sp>
    <dsp:sp modelId="{CF57A675-CD82-4C81-8010-AE3F53FD558F}">
      <dsp:nvSpPr>
        <dsp:cNvPr id="0" name=""/>
        <dsp:cNvSpPr/>
      </dsp:nvSpPr>
      <dsp:spPr>
        <a:xfrm rot="21582685">
          <a:off x="3380151" y="1248725"/>
          <a:ext cx="586804" cy="72872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>
        <a:off x="3380152" y="1394912"/>
        <a:ext cx="410763" cy="437233"/>
      </dsp:txXfrm>
    </dsp:sp>
    <dsp:sp modelId="{39387D2B-697A-4D13-8E13-7DA20AC1BE82}">
      <dsp:nvSpPr>
        <dsp:cNvPr id="0" name=""/>
        <dsp:cNvSpPr/>
      </dsp:nvSpPr>
      <dsp:spPr>
        <a:xfrm>
          <a:off x="4210528" y="878047"/>
          <a:ext cx="2938394" cy="144986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GPA 3.0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B or better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No I or WX</a:t>
          </a:r>
        </a:p>
      </dsp:txBody>
      <dsp:txXfrm>
        <a:off x="4252993" y="920512"/>
        <a:ext cx="2853464" cy="1364938"/>
      </dsp:txXfrm>
    </dsp:sp>
    <dsp:sp modelId="{C15A0E37-AFCA-46BF-A517-3B8C1529773B}">
      <dsp:nvSpPr>
        <dsp:cNvPr id="0" name=""/>
        <dsp:cNvSpPr/>
      </dsp:nvSpPr>
      <dsp:spPr>
        <a:xfrm rot="25610">
          <a:off x="7460338" y="1254345"/>
          <a:ext cx="660239" cy="72872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>
        <a:off x="7460341" y="1399351"/>
        <a:ext cx="462167" cy="437233"/>
      </dsp:txXfrm>
    </dsp:sp>
    <dsp:sp modelId="{A25F00BB-5EF5-4A47-9089-B3260C3A1E65}">
      <dsp:nvSpPr>
        <dsp:cNvPr id="0" name=""/>
        <dsp:cNvSpPr/>
      </dsp:nvSpPr>
      <dsp:spPr>
        <a:xfrm>
          <a:off x="8394622" y="950772"/>
          <a:ext cx="2938394" cy="136675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Standard courses</a:t>
          </a:r>
        </a:p>
      </dsp:txBody>
      <dsp:txXfrm>
        <a:off x="8434653" y="990803"/>
        <a:ext cx="2858332" cy="128669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B8AE38-3FA5-4DC1-9CDF-4C85EBA82B38}">
      <dsp:nvSpPr>
        <dsp:cNvPr id="0" name=""/>
        <dsp:cNvSpPr/>
      </dsp:nvSpPr>
      <dsp:spPr>
        <a:xfrm>
          <a:off x="0" y="557265"/>
          <a:ext cx="3000558" cy="141429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Direct Entry</a:t>
          </a:r>
        </a:p>
      </dsp:txBody>
      <dsp:txXfrm>
        <a:off x="41423" y="598688"/>
        <a:ext cx="2917712" cy="1331451"/>
      </dsp:txXfrm>
    </dsp:sp>
    <dsp:sp modelId="{CF57A675-CD82-4C81-8010-AE3F53FD558F}">
      <dsp:nvSpPr>
        <dsp:cNvPr id="0" name=""/>
        <dsp:cNvSpPr/>
      </dsp:nvSpPr>
      <dsp:spPr>
        <a:xfrm rot="22314">
          <a:off x="3298015" y="910305"/>
          <a:ext cx="630635" cy="73564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>
        <a:off x="3298017" y="1056821"/>
        <a:ext cx="441445" cy="441389"/>
      </dsp:txXfrm>
    </dsp:sp>
    <dsp:sp modelId="{39387D2B-697A-4D13-8E13-7DA20AC1BE82}">
      <dsp:nvSpPr>
        <dsp:cNvPr id="0" name=""/>
        <dsp:cNvSpPr/>
      </dsp:nvSpPr>
      <dsp:spPr>
        <a:xfrm>
          <a:off x="4190412" y="569937"/>
          <a:ext cx="2966327" cy="144313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GPA </a:t>
          </a:r>
          <a:r>
            <a:rPr lang="en-US" sz="2200" kern="1200" dirty="0" smtClean="0"/>
            <a:t>2.8/3.0</a:t>
          </a:r>
          <a:endParaRPr lang="en-US" sz="2200" kern="1200" dirty="0"/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TOEFL 79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IELTS 6.5</a:t>
          </a:r>
        </a:p>
      </dsp:txBody>
      <dsp:txXfrm>
        <a:off x="4232680" y="612205"/>
        <a:ext cx="2881791" cy="1358594"/>
      </dsp:txXfrm>
    </dsp:sp>
    <dsp:sp modelId="{C15A0E37-AFCA-46BF-A517-3B8C1529773B}">
      <dsp:nvSpPr>
        <dsp:cNvPr id="0" name=""/>
        <dsp:cNvSpPr/>
      </dsp:nvSpPr>
      <dsp:spPr>
        <a:xfrm>
          <a:off x="7453372" y="923678"/>
          <a:ext cx="628861" cy="73564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>
        <a:off x="7453372" y="1070808"/>
        <a:ext cx="440203" cy="441389"/>
      </dsp:txXfrm>
    </dsp:sp>
    <dsp:sp modelId="{A25F00BB-5EF5-4A47-9089-B3260C3A1E65}">
      <dsp:nvSpPr>
        <dsp:cNvPr id="0" name=""/>
        <dsp:cNvSpPr/>
      </dsp:nvSpPr>
      <dsp:spPr>
        <a:xfrm>
          <a:off x="8343270" y="621890"/>
          <a:ext cx="2966327" cy="133922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Standard </a:t>
          </a:r>
          <a:r>
            <a:rPr lang="en-US" sz="2200" kern="1200" dirty="0" smtClean="0"/>
            <a:t>courses; direct matriculation</a:t>
          </a:r>
          <a:endParaRPr lang="en-US" sz="2200" kern="1200" dirty="0"/>
        </a:p>
      </dsp:txBody>
      <dsp:txXfrm>
        <a:off x="8382495" y="661115"/>
        <a:ext cx="2887877" cy="126077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B8AE38-3FA5-4DC1-9CDF-4C85EBA82B38}">
      <dsp:nvSpPr>
        <dsp:cNvPr id="0" name=""/>
        <dsp:cNvSpPr/>
      </dsp:nvSpPr>
      <dsp:spPr>
        <a:xfrm>
          <a:off x="0" y="638686"/>
          <a:ext cx="2977130" cy="14914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Accelerated </a:t>
          </a:r>
          <a:r>
            <a:rPr lang="en-US" sz="2000" kern="1200" dirty="0" smtClean="0"/>
            <a:t>Pathway 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(1 semester)</a:t>
          </a:r>
          <a:endParaRPr lang="en-US" sz="2000" kern="1200" dirty="0"/>
        </a:p>
      </dsp:txBody>
      <dsp:txXfrm>
        <a:off x="43683" y="682369"/>
        <a:ext cx="2889764" cy="1404087"/>
      </dsp:txXfrm>
    </dsp:sp>
    <dsp:sp modelId="{CF57A675-CD82-4C81-8010-AE3F53FD558F}">
      <dsp:nvSpPr>
        <dsp:cNvPr id="0" name=""/>
        <dsp:cNvSpPr/>
      </dsp:nvSpPr>
      <dsp:spPr>
        <a:xfrm rot="51586">
          <a:off x="3277297" y="1046868"/>
          <a:ext cx="636502" cy="73832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700" kern="1200"/>
        </a:p>
      </dsp:txBody>
      <dsp:txXfrm>
        <a:off x="3277308" y="1193101"/>
        <a:ext cx="445551" cy="442996"/>
      </dsp:txXfrm>
    </dsp:sp>
    <dsp:sp modelId="{39387D2B-697A-4D13-8E13-7DA20AC1BE82}">
      <dsp:nvSpPr>
        <dsp:cNvPr id="0" name=""/>
        <dsp:cNvSpPr/>
      </dsp:nvSpPr>
      <dsp:spPr>
        <a:xfrm>
          <a:off x="4177943" y="784857"/>
          <a:ext cx="2977130" cy="132450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GPA 2.5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TOEFL 79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IELTS 6.5</a:t>
          </a:r>
        </a:p>
      </dsp:txBody>
      <dsp:txXfrm>
        <a:off x="4216736" y="823650"/>
        <a:ext cx="2899544" cy="1246921"/>
      </dsp:txXfrm>
    </dsp:sp>
    <dsp:sp modelId="{C15A0E37-AFCA-46BF-A517-3B8C1529773B}">
      <dsp:nvSpPr>
        <dsp:cNvPr id="0" name=""/>
        <dsp:cNvSpPr/>
      </dsp:nvSpPr>
      <dsp:spPr>
        <a:xfrm>
          <a:off x="7452786" y="1077947"/>
          <a:ext cx="631151" cy="73832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700" kern="1200"/>
        </a:p>
      </dsp:txBody>
      <dsp:txXfrm>
        <a:off x="7452786" y="1225613"/>
        <a:ext cx="441806" cy="442996"/>
      </dsp:txXfrm>
    </dsp:sp>
    <dsp:sp modelId="{A25F00BB-5EF5-4A47-9089-B3260C3A1E65}">
      <dsp:nvSpPr>
        <dsp:cNvPr id="0" name=""/>
        <dsp:cNvSpPr/>
      </dsp:nvSpPr>
      <dsp:spPr>
        <a:xfrm>
          <a:off x="8345925" y="805641"/>
          <a:ext cx="2977130" cy="128294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1 semester ELI (Academic ENG, 3 </a:t>
          </a:r>
          <a:r>
            <a:rPr lang="en-US" sz="2100" kern="1200" dirty="0" err="1"/>
            <a:t>hrs</a:t>
          </a:r>
          <a:r>
            <a:rPr lang="en-US" sz="2100" kern="1200" dirty="0"/>
            <a:t>)</a:t>
          </a:r>
        </a:p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6-9 hours courses</a:t>
          </a:r>
        </a:p>
      </dsp:txBody>
      <dsp:txXfrm>
        <a:off x="8383501" y="843217"/>
        <a:ext cx="2901978" cy="120778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B8AE38-3FA5-4DC1-9CDF-4C85EBA82B38}">
      <dsp:nvSpPr>
        <dsp:cNvPr id="0" name=""/>
        <dsp:cNvSpPr/>
      </dsp:nvSpPr>
      <dsp:spPr>
        <a:xfrm>
          <a:off x="2823" y="730136"/>
          <a:ext cx="3037887" cy="14339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Standard </a:t>
          </a:r>
          <a:r>
            <a:rPr lang="en-US" sz="2000" kern="1200" dirty="0" smtClean="0"/>
            <a:t>Pathway 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(2 semesters)</a:t>
          </a:r>
          <a:endParaRPr lang="en-US" sz="2000" kern="1200" dirty="0"/>
        </a:p>
      </dsp:txBody>
      <dsp:txXfrm>
        <a:off x="44822" y="772135"/>
        <a:ext cx="2953889" cy="1349952"/>
      </dsp:txXfrm>
    </dsp:sp>
    <dsp:sp modelId="{CF57A675-CD82-4C81-8010-AE3F53FD558F}">
      <dsp:nvSpPr>
        <dsp:cNvPr id="0" name=""/>
        <dsp:cNvSpPr/>
      </dsp:nvSpPr>
      <dsp:spPr>
        <a:xfrm>
          <a:off x="3336764" y="1080005"/>
          <a:ext cx="627632" cy="73421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>
        <a:off x="3336764" y="1226847"/>
        <a:ext cx="439342" cy="440527"/>
      </dsp:txXfrm>
    </dsp:sp>
    <dsp:sp modelId="{39387D2B-697A-4D13-8E13-7DA20AC1BE82}">
      <dsp:nvSpPr>
        <dsp:cNvPr id="0" name=""/>
        <dsp:cNvSpPr/>
      </dsp:nvSpPr>
      <dsp:spPr>
        <a:xfrm>
          <a:off x="4224923" y="750919"/>
          <a:ext cx="2960529" cy="13923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GPA 2.5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TOEFL 65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IELTS 5.5</a:t>
          </a:r>
        </a:p>
      </dsp:txBody>
      <dsp:txXfrm>
        <a:off x="4265705" y="791701"/>
        <a:ext cx="2878965" cy="1310820"/>
      </dsp:txXfrm>
    </dsp:sp>
    <dsp:sp modelId="{C15A0E37-AFCA-46BF-A517-3B8C1529773B}">
      <dsp:nvSpPr>
        <dsp:cNvPr id="0" name=""/>
        <dsp:cNvSpPr/>
      </dsp:nvSpPr>
      <dsp:spPr>
        <a:xfrm>
          <a:off x="7481505" y="1080005"/>
          <a:ext cx="627632" cy="73421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>
        <a:off x="7481505" y="1226847"/>
        <a:ext cx="439342" cy="440527"/>
      </dsp:txXfrm>
    </dsp:sp>
    <dsp:sp modelId="{A25F00BB-5EF5-4A47-9089-B3260C3A1E65}">
      <dsp:nvSpPr>
        <dsp:cNvPr id="0" name=""/>
        <dsp:cNvSpPr/>
      </dsp:nvSpPr>
      <dsp:spPr>
        <a:xfrm>
          <a:off x="8369664" y="782084"/>
          <a:ext cx="2960529" cy="13300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2 semester ELI (Academic ENG, 6 </a:t>
          </a:r>
          <a:r>
            <a:rPr lang="en-US" sz="2200" kern="1200" dirty="0" err="1"/>
            <a:t>hrs</a:t>
          </a:r>
          <a:r>
            <a:rPr lang="en-US" sz="2200" kern="1200" dirty="0"/>
            <a:t>)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6-9 hours courses</a:t>
          </a:r>
        </a:p>
      </dsp:txBody>
      <dsp:txXfrm>
        <a:off x="8408620" y="821040"/>
        <a:ext cx="2882617" cy="1252141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B8AE38-3FA5-4DC1-9CDF-4C85EBA82B38}">
      <dsp:nvSpPr>
        <dsp:cNvPr id="0" name=""/>
        <dsp:cNvSpPr/>
      </dsp:nvSpPr>
      <dsp:spPr>
        <a:xfrm>
          <a:off x="9528" y="891710"/>
          <a:ext cx="3093835" cy="146407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Progression requirements for matriculation</a:t>
          </a:r>
          <a:endParaRPr lang="en-US" sz="2200" kern="1200" dirty="0"/>
        </a:p>
      </dsp:txBody>
      <dsp:txXfrm>
        <a:off x="52409" y="934591"/>
        <a:ext cx="3008073" cy="1378316"/>
      </dsp:txXfrm>
    </dsp:sp>
    <dsp:sp modelId="{CF57A675-CD82-4C81-8010-AE3F53FD558F}">
      <dsp:nvSpPr>
        <dsp:cNvPr id="0" name=""/>
        <dsp:cNvSpPr/>
      </dsp:nvSpPr>
      <dsp:spPr>
        <a:xfrm rot="21582685">
          <a:off x="3380151" y="1248725"/>
          <a:ext cx="586804" cy="72872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>
        <a:off x="3380152" y="1394912"/>
        <a:ext cx="410763" cy="437233"/>
      </dsp:txXfrm>
    </dsp:sp>
    <dsp:sp modelId="{39387D2B-697A-4D13-8E13-7DA20AC1BE82}">
      <dsp:nvSpPr>
        <dsp:cNvPr id="0" name=""/>
        <dsp:cNvSpPr/>
      </dsp:nvSpPr>
      <dsp:spPr>
        <a:xfrm>
          <a:off x="4210528" y="878047"/>
          <a:ext cx="2938394" cy="144986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GPA 3.0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B or better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No I or WX</a:t>
          </a:r>
        </a:p>
      </dsp:txBody>
      <dsp:txXfrm>
        <a:off x="4252993" y="920512"/>
        <a:ext cx="2853464" cy="1364938"/>
      </dsp:txXfrm>
    </dsp:sp>
    <dsp:sp modelId="{C15A0E37-AFCA-46BF-A517-3B8C1529773B}">
      <dsp:nvSpPr>
        <dsp:cNvPr id="0" name=""/>
        <dsp:cNvSpPr/>
      </dsp:nvSpPr>
      <dsp:spPr>
        <a:xfrm rot="25610">
          <a:off x="7460338" y="1254345"/>
          <a:ext cx="660239" cy="72872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>
        <a:off x="7460341" y="1399351"/>
        <a:ext cx="462167" cy="437233"/>
      </dsp:txXfrm>
    </dsp:sp>
    <dsp:sp modelId="{A25F00BB-5EF5-4A47-9089-B3260C3A1E65}">
      <dsp:nvSpPr>
        <dsp:cNvPr id="0" name=""/>
        <dsp:cNvSpPr/>
      </dsp:nvSpPr>
      <dsp:spPr>
        <a:xfrm>
          <a:off x="8394622" y="950772"/>
          <a:ext cx="2938394" cy="136675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Standard courses</a:t>
          </a:r>
        </a:p>
      </dsp:txBody>
      <dsp:txXfrm>
        <a:off x="8434653" y="990803"/>
        <a:ext cx="2858332" cy="12866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8DDAD0A-C26A-42F4-86B5-494EBEFB96C3}" type="datetimeFigureOut">
              <a:rPr lang="en-US" smtClean="0"/>
              <a:t>1/10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EBBE9C5-F913-434B-9148-522D2D0960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8821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BBBC56-B1C5-3A48-AA1E-1A7584EEB19F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5512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BBBC56-B1C5-3A48-AA1E-1A7584EEB19F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3691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8700" y="2397222"/>
            <a:ext cx="11658600" cy="16541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57400" y="4372875"/>
            <a:ext cx="9601200" cy="197208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12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24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36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493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61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73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86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98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6CC5A-AE4B-5042-8495-B5715C059A52}" type="datetimeFigureOut">
              <a:rPr lang="en-US" smtClean="0"/>
              <a:t>1/1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C1EE2-62C9-7045-B0E4-BBBAAA0B13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2528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6CC5A-AE4B-5042-8495-B5715C059A52}" type="datetimeFigureOut">
              <a:rPr lang="en-US" smtClean="0"/>
              <a:t>1/1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C1EE2-62C9-7045-B0E4-BBBAAA0B13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097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4916150" y="348330"/>
            <a:ext cx="4629150" cy="740780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28700" y="348330"/>
            <a:ext cx="13658850" cy="740780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6CC5A-AE4B-5042-8495-B5715C059A52}" type="datetimeFigureOut">
              <a:rPr lang="en-US" smtClean="0"/>
              <a:t>1/1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C1EE2-62C9-7045-B0E4-BBBAAA0B13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72920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A5AED-EABC-2C4F-A4BB-CE06EB56EE0D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1/10/2018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C860DBA-B183-8C49-A4EE-4AF1B84E3C0B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800596"/>
            <a:ext cx="12346782" cy="5092756"/>
          </a:xfrm>
        </p:spPr>
        <p:txBody>
          <a:bodyPr/>
          <a:lstStyle>
            <a:lvl1pPr>
              <a:defRPr sz="3151"/>
            </a:lvl1pPr>
            <a:lvl2pPr>
              <a:defRPr sz="2700"/>
            </a:lvl2pPr>
            <a:lvl3pPr>
              <a:defRPr sz="2250"/>
            </a:lvl3pPr>
            <a:lvl4pPr>
              <a:defRPr sz="2025"/>
            </a:lvl4pPr>
            <a:lvl5pPr>
              <a:defRPr sz="2025"/>
            </a:lvl5pPr>
            <a:lvl6pPr>
              <a:defRPr sz="2025"/>
            </a:lvl6pPr>
            <a:lvl7pPr>
              <a:defRPr sz="2025"/>
            </a:lvl7pPr>
            <a:lvl8pPr>
              <a:defRPr sz="2025"/>
            </a:lvl8pPr>
            <a:lvl9pPr>
              <a:defRPr sz="2025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742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ernative 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664370" y="1899395"/>
            <a:ext cx="12368211" cy="541342"/>
          </a:xfrm>
        </p:spPr>
        <p:txBody>
          <a:bodyPr anchor="t">
            <a:normAutofit/>
          </a:bodyPr>
          <a:lstStyle>
            <a:lvl1pPr algn="l">
              <a:defRPr sz="27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664369" y="2440738"/>
            <a:ext cx="12368213" cy="937951"/>
          </a:xfrm>
        </p:spPr>
        <p:txBody>
          <a:bodyPr>
            <a:normAutofit/>
          </a:bodyPr>
          <a:lstStyle>
            <a:lvl1pPr marL="0" indent="0" algn="l">
              <a:buNone/>
              <a:defRPr sz="1800" b="0">
                <a:solidFill>
                  <a:srgbClr val="FFFFFF"/>
                </a:solidFill>
                <a:latin typeface="Arial"/>
                <a:cs typeface="Arial"/>
              </a:defRPr>
            </a:lvl1pPr>
            <a:lvl2pPr marL="514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88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43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57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7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86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01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15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US" dirty="0"/>
          </a:p>
        </p:txBody>
      </p:sp>
      <p:pic>
        <p:nvPicPr>
          <p:cNvPr id="10" name="Picture 9" descr="INTO_logo_rev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58" y="494211"/>
            <a:ext cx="2115344" cy="402961"/>
          </a:xfrm>
          <a:prstGeom prst="rect">
            <a:avLst/>
          </a:prstGeom>
        </p:spPr>
      </p:pic>
      <p:pic>
        <p:nvPicPr>
          <p:cNvPr id="9" name="Picture 8" descr="ISU shapes_Front cover shapes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65238"/>
            <a:ext cx="13716000" cy="315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04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hapes 2_Quote page shape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05654"/>
            <a:ext cx="13716000" cy="2211184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60DBA-B183-8C49-A4EE-4AF1B84E3C0B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5" hasCustomPrompt="1"/>
          </p:nvPr>
        </p:nvSpPr>
        <p:spPr>
          <a:xfrm>
            <a:off x="6962775" y="2186438"/>
            <a:ext cx="5734050" cy="1634366"/>
          </a:xfrm>
          <a:custGeom>
            <a:avLst/>
            <a:gdLst>
              <a:gd name="connsiteX0" fmla="*/ 0 w 3962400"/>
              <a:gd name="connsiteY0" fmla="*/ 0 h 2133600"/>
              <a:gd name="connsiteX1" fmla="*/ 3962400 w 3962400"/>
              <a:gd name="connsiteY1" fmla="*/ 0 h 2133600"/>
              <a:gd name="connsiteX2" fmla="*/ 3962400 w 3962400"/>
              <a:gd name="connsiteY2" fmla="*/ 2133600 h 2133600"/>
              <a:gd name="connsiteX3" fmla="*/ 0 w 3962400"/>
              <a:gd name="connsiteY3" fmla="*/ 2133600 h 2133600"/>
              <a:gd name="connsiteX4" fmla="*/ 0 w 3962400"/>
              <a:gd name="connsiteY4" fmla="*/ 0 h 2133600"/>
              <a:gd name="connsiteX0" fmla="*/ 0 w 3962400"/>
              <a:gd name="connsiteY0" fmla="*/ 12700 h 2146300"/>
              <a:gd name="connsiteX1" fmla="*/ 2781300 w 3962400"/>
              <a:gd name="connsiteY1" fmla="*/ 0 h 2146300"/>
              <a:gd name="connsiteX2" fmla="*/ 3962400 w 3962400"/>
              <a:gd name="connsiteY2" fmla="*/ 12700 h 2146300"/>
              <a:gd name="connsiteX3" fmla="*/ 3962400 w 3962400"/>
              <a:gd name="connsiteY3" fmla="*/ 2146300 h 2146300"/>
              <a:gd name="connsiteX4" fmla="*/ 0 w 3962400"/>
              <a:gd name="connsiteY4" fmla="*/ 2146300 h 2146300"/>
              <a:gd name="connsiteX5" fmla="*/ 0 w 3962400"/>
              <a:gd name="connsiteY5" fmla="*/ 12700 h 2146300"/>
              <a:gd name="connsiteX0" fmla="*/ 0 w 3962400"/>
              <a:gd name="connsiteY0" fmla="*/ 228600 h 2362200"/>
              <a:gd name="connsiteX1" fmla="*/ 2819400 w 3962400"/>
              <a:gd name="connsiteY1" fmla="*/ 0 h 2362200"/>
              <a:gd name="connsiteX2" fmla="*/ 3962400 w 3962400"/>
              <a:gd name="connsiteY2" fmla="*/ 228600 h 2362200"/>
              <a:gd name="connsiteX3" fmla="*/ 3962400 w 3962400"/>
              <a:gd name="connsiteY3" fmla="*/ 2362200 h 2362200"/>
              <a:gd name="connsiteX4" fmla="*/ 0 w 3962400"/>
              <a:gd name="connsiteY4" fmla="*/ 2362200 h 2362200"/>
              <a:gd name="connsiteX5" fmla="*/ 0 w 3962400"/>
              <a:gd name="connsiteY5" fmla="*/ 228600 h 2362200"/>
              <a:gd name="connsiteX0" fmla="*/ 0 w 3962400"/>
              <a:gd name="connsiteY0" fmla="*/ 228600 h 2362200"/>
              <a:gd name="connsiteX1" fmla="*/ 2819400 w 3962400"/>
              <a:gd name="connsiteY1" fmla="*/ 0 h 2362200"/>
              <a:gd name="connsiteX2" fmla="*/ 3962400 w 3962400"/>
              <a:gd name="connsiteY2" fmla="*/ 228600 h 2362200"/>
              <a:gd name="connsiteX3" fmla="*/ 3962400 w 3962400"/>
              <a:gd name="connsiteY3" fmla="*/ 2362200 h 2362200"/>
              <a:gd name="connsiteX4" fmla="*/ 0 w 3962400"/>
              <a:gd name="connsiteY4" fmla="*/ 2362200 h 2362200"/>
              <a:gd name="connsiteX5" fmla="*/ 0 w 3962400"/>
              <a:gd name="connsiteY5" fmla="*/ 901700 h 2362200"/>
              <a:gd name="connsiteX6" fmla="*/ 0 w 3962400"/>
              <a:gd name="connsiteY6" fmla="*/ 228600 h 2362200"/>
              <a:gd name="connsiteX0" fmla="*/ 266700 w 4229100"/>
              <a:gd name="connsiteY0" fmla="*/ 228600 h 2362200"/>
              <a:gd name="connsiteX1" fmla="*/ 3086100 w 4229100"/>
              <a:gd name="connsiteY1" fmla="*/ 0 h 2362200"/>
              <a:gd name="connsiteX2" fmla="*/ 4229100 w 4229100"/>
              <a:gd name="connsiteY2" fmla="*/ 228600 h 2362200"/>
              <a:gd name="connsiteX3" fmla="*/ 4229100 w 4229100"/>
              <a:gd name="connsiteY3" fmla="*/ 2362200 h 2362200"/>
              <a:gd name="connsiteX4" fmla="*/ 266700 w 4229100"/>
              <a:gd name="connsiteY4" fmla="*/ 2362200 h 2362200"/>
              <a:gd name="connsiteX5" fmla="*/ 0 w 4229100"/>
              <a:gd name="connsiteY5" fmla="*/ 939800 h 2362200"/>
              <a:gd name="connsiteX6" fmla="*/ 266700 w 4229100"/>
              <a:gd name="connsiteY6" fmla="*/ 228600 h 2362200"/>
              <a:gd name="connsiteX0" fmla="*/ 266700 w 4229100"/>
              <a:gd name="connsiteY0" fmla="*/ 228600 h 2362200"/>
              <a:gd name="connsiteX1" fmla="*/ 3086100 w 4229100"/>
              <a:gd name="connsiteY1" fmla="*/ 0 h 2362200"/>
              <a:gd name="connsiteX2" fmla="*/ 4229100 w 4229100"/>
              <a:gd name="connsiteY2" fmla="*/ 228600 h 2362200"/>
              <a:gd name="connsiteX3" fmla="*/ 3937000 w 4229100"/>
              <a:gd name="connsiteY3" fmla="*/ 2247900 h 2362200"/>
              <a:gd name="connsiteX4" fmla="*/ 266700 w 4229100"/>
              <a:gd name="connsiteY4" fmla="*/ 2362200 h 2362200"/>
              <a:gd name="connsiteX5" fmla="*/ 0 w 4229100"/>
              <a:gd name="connsiteY5" fmla="*/ 939800 h 2362200"/>
              <a:gd name="connsiteX6" fmla="*/ 266700 w 4229100"/>
              <a:gd name="connsiteY6" fmla="*/ 228600 h 2362200"/>
              <a:gd name="connsiteX0" fmla="*/ 266700 w 4229100"/>
              <a:gd name="connsiteY0" fmla="*/ 228600 h 2362200"/>
              <a:gd name="connsiteX1" fmla="*/ 3086100 w 4229100"/>
              <a:gd name="connsiteY1" fmla="*/ 0 h 2362200"/>
              <a:gd name="connsiteX2" fmla="*/ 4229100 w 4229100"/>
              <a:gd name="connsiteY2" fmla="*/ 228600 h 2362200"/>
              <a:gd name="connsiteX3" fmla="*/ 3937000 w 4229100"/>
              <a:gd name="connsiteY3" fmla="*/ 2247900 h 2362200"/>
              <a:gd name="connsiteX4" fmla="*/ 2413000 w 4229100"/>
              <a:gd name="connsiteY4" fmla="*/ 2286000 h 2362200"/>
              <a:gd name="connsiteX5" fmla="*/ 266700 w 4229100"/>
              <a:gd name="connsiteY5" fmla="*/ 2362200 h 2362200"/>
              <a:gd name="connsiteX6" fmla="*/ 0 w 4229100"/>
              <a:gd name="connsiteY6" fmla="*/ 939800 h 2362200"/>
              <a:gd name="connsiteX7" fmla="*/ 266700 w 4229100"/>
              <a:gd name="connsiteY7" fmla="*/ 228600 h 2362200"/>
              <a:gd name="connsiteX0" fmla="*/ 266700 w 4229100"/>
              <a:gd name="connsiteY0" fmla="*/ 228600 h 2476500"/>
              <a:gd name="connsiteX1" fmla="*/ 3086100 w 4229100"/>
              <a:gd name="connsiteY1" fmla="*/ 0 h 2476500"/>
              <a:gd name="connsiteX2" fmla="*/ 4229100 w 4229100"/>
              <a:gd name="connsiteY2" fmla="*/ 228600 h 2476500"/>
              <a:gd name="connsiteX3" fmla="*/ 3937000 w 4229100"/>
              <a:gd name="connsiteY3" fmla="*/ 2247900 h 2476500"/>
              <a:gd name="connsiteX4" fmla="*/ 2349500 w 4229100"/>
              <a:gd name="connsiteY4" fmla="*/ 2476500 h 2476500"/>
              <a:gd name="connsiteX5" fmla="*/ 266700 w 4229100"/>
              <a:gd name="connsiteY5" fmla="*/ 2362200 h 2476500"/>
              <a:gd name="connsiteX6" fmla="*/ 0 w 4229100"/>
              <a:gd name="connsiteY6" fmla="*/ 939800 h 2476500"/>
              <a:gd name="connsiteX7" fmla="*/ 266700 w 4229100"/>
              <a:gd name="connsiteY7" fmla="*/ 228600 h 2476500"/>
              <a:gd name="connsiteX0" fmla="*/ 266700 w 4229100"/>
              <a:gd name="connsiteY0" fmla="*/ 228600 h 2476500"/>
              <a:gd name="connsiteX1" fmla="*/ 3086100 w 4229100"/>
              <a:gd name="connsiteY1" fmla="*/ 0 h 2476500"/>
              <a:gd name="connsiteX2" fmla="*/ 4229100 w 4229100"/>
              <a:gd name="connsiteY2" fmla="*/ 228600 h 2476500"/>
              <a:gd name="connsiteX3" fmla="*/ 4102100 w 4229100"/>
              <a:gd name="connsiteY3" fmla="*/ 2324100 h 2476500"/>
              <a:gd name="connsiteX4" fmla="*/ 2349500 w 4229100"/>
              <a:gd name="connsiteY4" fmla="*/ 2476500 h 2476500"/>
              <a:gd name="connsiteX5" fmla="*/ 266700 w 4229100"/>
              <a:gd name="connsiteY5" fmla="*/ 2362200 h 2476500"/>
              <a:gd name="connsiteX6" fmla="*/ 0 w 4229100"/>
              <a:gd name="connsiteY6" fmla="*/ 939800 h 2476500"/>
              <a:gd name="connsiteX7" fmla="*/ 266700 w 4229100"/>
              <a:gd name="connsiteY7" fmla="*/ 228600 h 2476500"/>
              <a:gd name="connsiteX0" fmla="*/ 190500 w 4152900"/>
              <a:gd name="connsiteY0" fmla="*/ 228600 h 2476500"/>
              <a:gd name="connsiteX1" fmla="*/ 3009900 w 4152900"/>
              <a:gd name="connsiteY1" fmla="*/ 0 h 2476500"/>
              <a:gd name="connsiteX2" fmla="*/ 4152900 w 4152900"/>
              <a:gd name="connsiteY2" fmla="*/ 228600 h 2476500"/>
              <a:gd name="connsiteX3" fmla="*/ 4025900 w 4152900"/>
              <a:gd name="connsiteY3" fmla="*/ 2324100 h 2476500"/>
              <a:gd name="connsiteX4" fmla="*/ 2273300 w 4152900"/>
              <a:gd name="connsiteY4" fmla="*/ 2476500 h 2476500"/>
              <a:gd name="connsiteX5" fmla="*/ 190500 w 4152900"/>
              <a:gd name="connsiteY5" fmla="*/ 2362200 h 2476500"/>
              <a:gd name="connsiteX6" fmla="*/ 0 w 4152900"/>
              <a:gd name="connsiteY6" fmla="*/ 927100 h 2476500"/>
              <a:gd name="connsiteX7" fmla="*/ 190500 w 4152900"/>
              <a:gd name="connsiteY7" fmla="*/ 228600 h 2476500"/>
              <a:gd name="connsiteX0" fmla="*/ 203200 w 4152900"/>
              <a:gd name="connsiteY0" fmla="*/ 127000 h 2476500"/>
              <a:gd name="connsiteX1" fmla="*/ 3009900 w 4152900"/>
              <a:gd name="connsiteY1" fmla="*/ 0 h 2476500"/>
              <a:gd name="connsiteX2" fmla="*/ 4152900 w 4152900"/>
              <a:gd name="connsiteY2" fmla="*/ 228600 h 2476500"/>
              <a:gd name="connsiteX3" fmla="*/ 4025900 w 4152900"/>
              <a:gd name="connsiteY3" fmla="*/ 2324100 h 2476500"/>
              <a:gd name="connsiteX4" fmla="*/ 2273300 w 4152900"/>
              <a:gd name="connsiteY4" fmla="*/ 2476500 h 2476500"/>
              <a:gd name="connsiteX5" fmla="*/ 190500 w 4152900"/>
              <a:gd name="connsiteY5" fmla="*/ 2362200 h 2476500"/>
              <a:gd name="connsiteX6" fmla="*/ 0 w 4152900"/>
              <a:gd name="connsiteY6" fmla="*/ 927100 h 2476500"/>
              <a:gd name="connsiteX7" fmla="*/ 203200 w 4152900"/>
              <a:gd name="connsiteY7" fmla="*/ 127000 h 2476500"/>
              <a:gd name="connsiteX0" fmla="*/ 203200 w 4152900"/>
              <a:gd name="connsiteY0" fmla="*/ 127000 h 2476500"/>
              <a:gd name="connsiteX1" fmla="*/ 3009900 w 4152900"/>
              <a:gd name="connsiteY1" fmla="*/ 0 h 2476500"/>
              <a:gd name="connsiteX2" fmla="*/ 4152900 w 4152900"/>
              <a:gd name="connsiteY2" fmla="*/ 228600 h 2476500"/>
              <a:gd name="connsiteX3" fmla="*/ 4025900 w 4152900"/>
              <a:gd name="connsiteY3" fmla="*/ 2324100 h 2476500"/>
              <a:gd name="connsiteX4" fmla="*/ 2273300 w 4152900"/>
              <a:gd name="connsiteY4" fmla="*/ 2476500 h 2476500"/>
              <a:gd name="connsiteX5" fmla="*/ 127000 w 4152900"/>
              <a:gd name="connsiteY5" fmla="*/ 2400300 h 2476500"/>
              <a:gd name="connsiteX6" fmla="*/ 0 w 4152900"/>
              <a:gd name="connsiteY6" fmla="*/ 927100 h 2476500"/>
              <a:gd name="connsiteX7" fmla="*/ 203200 w 4152900"/>
              <a:gd name="connsiteY7" fmla="*/ 127000 h 2476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2900" h="2476500">
                <a:moveTo>
                  <a:pt x="203200" y="127000"/>
                </a:moveTo>
                <a:lnTo>
                  <a:pt x="3009900" y="0"/>
                </a:lnTo>
                <a:lnTo>
                  <a:pt x="4152900" y="228600"/>
                </a:lnTo>
                <a:lnTo>
                  <a:pt x="4025900" y="2324100"/>
                </a:lnTo>
                <a:lnTo>
                  <a:pt x="2273300" y="2476500"/>
                </a:lnTo>
                <a:lnTo>
                  <a:pt x="127000" y="2400300"/>
                </a:lnTo>
                <a:lnTo>
                  <a:pt x="0" y="927100"/>
                </a:lnTo>
                <a:lnTo>
                  <a:pt x="203200" y="127000"/>
                </a:lnTo>
                <a:close/>
              </a:path>
            </a:pathLst>
          </a:custGeom>
          <a:solidFill>
            <a:srgbClr val="E2001A"/>
          </a:solidFill>
          <a:ln>
            <a:noFill/>
          </a:ln>
        </p:spPr>
        <p:txBody>
          <a:bodyPr lIns="360000" tIns="374400" rIns="360000" bIns="421200">
            <a:spAutoFit/>
          </a:bodyPr>
          <a:lstStyle>
            <a:lvl1pPr marL="0" indent="0">
              <a:buNone/>
              <a:defRPr sz="1800" b="0" i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 sz="1800" dirty="0" smtClean="0">
                <a:solidFill>
                  <a:srgbClr val="FFFFFF"/>
                </a:solidFill>
                <a:latin typeface="Arial"/>
                <a:cs typeface="Arial"/>
              </a:rPr>
              <a:t>“Type</a:t>
            </a:r>
            <a:r>
              <a:rPr lang="en-US" sz="1800" baseline="0" dirty="0" smtClean="0">
                <a:solidFill>
                  <a:srgbClr val="FFFFFF"/>
                </a:solidFill>
                <a:latin typeface="Arial"/>
                <a:cs typeface="Arial"/>
              </a:rPr>
              <a:t> your quote here</a:t>
            </a:r>
            <a:r>
              <a:rPr lang="en-US" sz="1800" dirty="0" smtClean="0">
                <a:solidFill>
                  <a:srgbClr val="FFFFFF"/>
                </a:solidFill>
                <a:latin typeface="Arial"/>
                <a:cs typeface="Arial"/>
              </a:rPr>
              <a:t>, then resize the text box size and margins as necessary</a:t>
            </a:r>
            <a:r>
              <a:rPr lang="en-US" sz="1800" baseline="0" dirty="0" smtClean="0">
                <a:solidFill>
                  <a:srgbClr val="FFFFFF"/>
                </a:solidFill>
                <a:latin typeface="Arial"/>
                <a:cs typeface="Arial"/>
              </a:rPr>
              <a:t>.</a:t>
            </a:r>
            <a:r>
              <a:rPr lang="en-US" sz="1800" dirty="0" smtClean="0">
                <a:solidFill>
                  <a:srgbClr val="FFFFFF"/>
                </a:solidFill>
                <a:latin typeface="Arial"/>
                <a:cs typeface="Arial"/>
              </a:rPr>
              <a:t>”</a:t>
            </a:r>
            <a:br>
              <a:rPr lang="en-US" sz="1800" dirty="0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en-US" sz="1800" dirty="0" smtClean="0">
                <a:solidFill>
                  <a:srgbClr val="FFFFFF"/>
                </a:solidFill>
                <a:latin typeface="Arial"/>
                <a:cs typeface="Arial"/>
              </a:rPr>
              <a:t>Insert name, Job title</a:t>
            </a:r>
          </a:p>
        </p:txBody>
      </p:sp>
    </p:spTree>
    <p:extLst>
      <p:ext uri="{BB962C8B-B14F-4D97-AF65-F5344CB8AC3E}">
        <p14:creationId xmlns:p14="http://schemas.microsoft.com/office/powerpoint/2010/main" val="4176532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hapes 2_Divider red cop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716000" cy="771623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919173" y="6755043"/>
            <a:ext cx="11856006" cy="334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14441"/>
            <a:r>
              <a:rPr lang="en-US" sz="1575" dirty="0" err="1" smtClean="0">
                <a:solidFill>
                  <a:prstClr val="white"/>
                </a:solidFill>
                <a:latin typeface="Arial"/>
                <a:cs typeface="Arial"/>
              </a:rPr>
              <a:t>www.into-corporate.com</a:t>
            </a:r>
            <a:endParaRPr lang="en-US" sz="1575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pic>
        <p:nvPicPr>
          <p:cNvPr id="5" name="Picture 4" descr="INTO_logo_rev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8602" y="5192378"/>
            <a:ext cx="3098799" cy="590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649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A5AED-EABC-2C4F-A4BB-CE06EB56EE0D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1/10/2018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C860DBA-B183-8C49-A4EE-4AF1B84E3C0B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800596"/>
            <a:ext cx="12346782" cy="5092756"/>
          </a:xfrm>
        </p:spPr>
        <p:txBody>
          <a:bodyPr/>
          <a:lstStyle>
            <a:lvl1pPr>
              <a:defRPr sz="3151"/>
            </a:lvl1pPr>
            <a:lvl2pPr>
              <a:defRPr sz="2700"/>
            </a:lvl2pPr>
            <a:lvl3pPr>
              <a:defRPr sz="2250"/>
            </a:lvl3pPr>
            <a:lvl4pPr>
              <a:defRPr sz="2025"/>
            </a:lvl4pPr>
            <a:lvl5pPr>
              <a:defRPr sz="2025"/>
            </a:lvl5pPr>
            <a:lvl6pPr>
              <a:defRPr sz="2025"/>
            </a:lvl6pPr>
            <a:lvl7pPr>
              <a:defRPr sz="2025"/>
            </a:lvl7pPr>
            <a:lvl8pPr>
              <a:defRPr sz="2025"/>
            </a:lvl8pPr>
            <a:lvl9pPr>
              <a:defRPr sz="2025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651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lternative 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664370" y="1899395"/>
            <a:ext cx="12368211" cy="541342"/>
          </a:xfrm>
        </p:spPr>
        <p:txBody>
          <a:bodyPr anchor="t">
            <a:normAutofit/>
          </a:bodyPr>
          <a:lstStyle>
            <a:lvl1pPr algn="l">
              <a:defRPr sz="27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664369" y="2440738"/>
            <a:ext cx="12368213" cy="937951"/>
          </a:xfrm>
        </p:spPr>
        <p:txBody>
          <a:bodyPr>
            <a:normAutofit/>
          </a:bodyPr>
          <a:lstStyle>
            <a:lvl1pPr marL="0" indent="0" algn="l">
              <a:buNone/>
              <a:defRPr sz="1800" b="0">
                <a:solidFill>
                  <a:srgbClr val="FFFFFF"/>
                </a:solidFill>
                <a:latin typeface="Arial"/>
                <a:cs typeface="Arial"/>
              </a:defRPr>
            </a:lvl1pPr>
            <a:lvl2pPr marL="514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88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43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57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7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86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01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15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US" dirty="0"/>
          </a:p>
        </p:txBody>
      </p:sp>
      <p:pic>
        <p:nvPicPr>
          <p:cNvPr id="10" name="Picture 9" descr="INTO_logo_rev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58" y="494211"/>
            <a:ext cx="2115344" cy="402961"/>
          </a:xfrm>
          <a:prstGeom prst="rect">
            <a:avLst/>
          </a:prstGeom>
        </p:spPr>
      </p:pic>
      <p:pic>
        <p:nvPicPr>
          <p:cNvPr id="9" name="Picture 8" descr="ISU shapes_Front cover shapes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65238"/>
            <a:ext cx="13716000" cy="315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372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hapes 2_Quote page shape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05654"/>
            <a:ext cx="13716000" cy="2211184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60DBA-B183-8C49-A4EE-4AF1B84E3C0B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5" hasCustomPrompt="1"/>
          </p:nvPr>
        </p:nvSpPr>
        <p:spPr>
          <a:xfrm>
            <a:off x="6962775" y="2186438"/>
            <a:ext cx="5734050" cy="1634366"/>
          </a:xfrm>
          <a:custGeom>
            <a:avLst/>
            <a:gdLst>
              <a:gd name="connsiteX0" fmla="*/ 0 w 3962400"/>
              <a:gd name="connsiteY0" fmla="*/ 0 h 2133600"/>
              <a:gd name="connsiteX1" fmla="*/ 3962400 w 3962400"/>
              <a:gd name="connsiteY1" fmla="*/ 0 h 2133600"/>
              <a:gd name="connsiteX2" fmla="*/ 3962400 w 3962400"/>
              <a:gd name="connsiteY2" fmla="*/ 2133600 h 2133600"/>
              <a:gd name="connsiteX3" fmla="*/ 0 w 3962400"/>
              <a:gd name="connsiteY3" fmla="*/ 2133600 h 2133600"/>
              <a:gd name="connsiteX4" fmla="*/ 0 w 3962400"/>
              <a:gd name="connsiteY4" fmla="*/ 0 h 2133600"/>
              <a:gd name="connsiteX0" fmla="*/ 0 w 3962400"/>
              <a:gd name="connsiteY0" fmla="*/ 12700 h 2146300"/>
              <a:gd name="connsiteX1" fmla="*/ 2781300 w 3962400"/>
              <a:gd name="connsiteY1" fmla="*/ 0 h 2146300"/>
              <a:gd name="connsiteX2" fmla="*/ 3962400 w 3962400"/>
              <a:gd name="connsiteY2" fmla="*/ 12700 h 2146300"/>
              <a:gd name="connsiteX3" fmla="*/ 3962400 w 3962400"/>
              <a:gd name="connsiteY3" fmla="*/ 2146300 h 2146300"/>
              <a:gd name="connsiteX4" fmla="*/ 0 w 3962400"/>
              <a:gd name="connsiteY4" fmla="*/ 2146300 h 2146300"/>
              <a:gd name="connsiteX5" fmla="*/ 0 w 3962400"/>
              <a:gd name="connsiteY5" fmla="*/ 12700 h 2146300"/>
              <a:gd name="connsiteX0" fmla="*/ 0 w 3962400"/>
              <a:gd name="connsiteY0" fmla="*/ 228600 h 2362200"/>
              <a:gd name="connsiteX1" fmla="*/ 2819400 w 3962400"/>
              <a:gd name="connsiteY1" fmla="*/ 0 h 2362200"/>
              <a:gd name="connsiteX2" fmla="*/ 3962400 w 3962400"/>
              <a:gd name="connsiteY2" fmla="*/ 228600 h 2362200"/>
              <a:gd name="connsiteX3" fmla="*/ 3962400 w 3962400"/>
              <a:gd name="connsiteY3" fmla="*/ 2362200 h 2362200"/>
              <a:gd name="connsiteX4" fmla="*/ 0 w 3962400"/>
              <a:gd name="connsiteY4" fmla="*/ 2362200 h 2362200"/>
              <a:gd name="connsiteX5" fmla="*/ 0 w 3962400"/>
              <a:gd name="connsiteY5" fmla="*/ 228600 h 2362200"/>
              <a:gd name="connsiteX0" fmla="*/ 0 w 3962400"/>
              <a:gd name="connsiteY0" fmla="*/ 228600 h 2362200"/>
              <a:gd name="connsiteX1" fmla="*/ 2819400 w 3962400"/>
              <a:gd name="connsiteY1" fmla="*/ 0 h 2362200"/>
              <a:gd name="connsiteX2" fmla="*/ 3962400 w 3962400"/>
              <a:gd name="connsiteY2" fmla="*/ 228600 h 2362200"/>
              <a:gd name="connsiteX3" fmla="*/ 3962400 w 3962400"/>
              <a:gd name="connsiteY3" fmla="*/ 2362200 h 2362200"/>
              <a:gd name="connsiteX4" fmla="*/ 0 w 3962400"/>
              <a:gd name="connsiteY4" fmla="*/ 2362200 h 2362200"/>
              <a:gd name="connsiteX5" fmla="*/ 0 w 3962400"/>
              <a:gd name="connsiteY5" fmla="*/ 901700 h 2362200"/>
              <a:gd name="connsiteX6" fmla="*/ 0 w 3962400"/>
              <a:gd name="connsiteY6" fmla="*/ 228600 h 2362200"/>
              <a:gd name="connsiteX0" fmla="*/ 266700 w 4229100"/>
              <a:gd name="connsiteY0" fmla="*/ 228600 h 2362200"/>
              <a:gd name="connsiteX1" fmla="*/ 3086100 w 4229100"/>
              <a:gd name="connsiteY1" fmla="*/ 0 h 2362200"/>
              <a:gd name="connsiteX2" fmla="*/ 4229100 w 4229100"/>
              <a:gd name="connsiteY2" fmla="*/ 228600 h 2362200"/>
              <a:gd name="connsiteX3" fmla="*/ 4229100 w 4229100"/>
              <a:gd name="connsiteY3" fmla="*/ 2362200 h 2362200"/>
              <a:gd name="connsiteX4" fmla="*/ 266700 w 4229100"/>
              <a:gd name="connsiteY4" fmla="*/ 2362200 h 2362200"/>
              <a:gd name="connsiteX5" fmla="*/ 0 w 4229100"/>
              <a:gd name="connsiteY5" fmla="*/ 939800 h 2362200"/>
              <a:gd name="connsiteX6" fmla="*/ 266700 w 4229100"/>
              <a:gd name="connsiteY6" fmla="*/ 228600 h 2362200"/>
              <a:gd name="connsiteX0" fmla="*/ 266700 w 4229100"/>
              <a:gd name="connsiteY0" fmla="*/ 228600 h 2362200"/>
              <a:gd name="connsiteX1" fmla="*/ 3086100 w 4229100"/>
              <a:gd name="connsiteY1" fmla="*/ 0 h 2362200"/>
              <a:gd name="connsiteX2" fmla="*/ 4229100 w 4229100"/>
              <a:gd name="connsiteY2" fmla="*/ 228600 h 2362200"/>
              <a:gd name="connsiteX3" fmla="*/ 3937000 w 4229100"/>
              <a:gd name="connsiteY3" fmla="*/ 2247900 h 2362200"/>
              <a:gd name="connsiteX4" fmla="*/ 266700 w 4229100"/>
              <a:gd name="connsiteY4" fmla="*/ 2362200 h 2362200"/>
              <a:gd name="connsiteX5" fmla="*/ 0 w 4229100"/>
              <a:gd name="connsiteY5" fmla="*/ 939800 h 2362200"/>
              <a:gd name="connsiteX6" fmla="*/ 266700 w 4229100"/>
              <a:gd name="connsiteY6" fmla="*/ 228600 h 2362200"/>
              <a:gd name="connsiteX0" fmla="*/ 266700 w 4229100"/>
              <a:gd name="connsiteY0" fmla="*/ 228600 h 2362200"/>
              <a:gd name="connsiteX1" fmla="*/ 3086100 w 4229100"/>
              <a:gd name="connsiteY1" fmla="*/ 0 h 2362200"/>
              <a:gd name="connsiteX2" fmla="*/ 4229100 w 4229100"/>
              <a:gd name="connsiteY2" fmla="*/ 228600 h 2362200"/>
              <a:gd name="connsiteX3" fmla="*/ 3937000 w 4229100"/>
              <a:gd name="connsiteY3" fmla="*/ 2247900 h 2362200"/>
              <a:gd name="connsiteX4" fmla="*/ 2413000 w 4229100"/>
              <a:gd name="connsiteY4" fmla="*/ 2286000 h 2362200"/>
              <a:gd name="connsiteX5" fmla="*/ 266700 w 4229100"/>
              <a:gd name="connsiteY5" fmla="*/ 2362200 h 2362200"/>
              <a:gd name="connsiteX6" fmla="*/ 0 w 4229100"/>
              <a:gd name="connsiteY6" fmla="*/ 939800 h 2362200"/>
              <a:gd name="connsiteX7" fmla="*/ 266700 w 4229100"/>
              <a:gd name="connsiteY7" fmla="*/ 228600 h 2362200"/>
              <a:gd name="connsiteX0" fmla="*/ 266700 w 4229100"/>
              <a:gd name="connsiteY0" fmla="*/ 228600 h 2476500"/>
              <a:gd name="connsiteX1" fmla="*/ 3086100 w 4229100"/>
              <a:gd name="connsiteY1" fmla="*/ 0 h 2476500"/>
              <a:gd name="connsiteX2" fmla="*/ 4229100 w 4229100"/>
              <a:gd name="connsiteY2" fmla="*/ 228600 h 2476500"/>
              <a:gd name="connsiteX3" fmla="*/ 3937000 w 4229100"/>
              <a:gd name="connsiteY3" fmla="*/ 2247900 h 2476500"/>
              <a:gd name="connsiteX4" fmla="*/ 2349500 w 4229100"/>
              <a:gd name="connsiteY4" fmla="*/ 2476500 h 2476500"/>
              <a:gd name="connsiteX5" fmla="*/ 266700 w 4229100"/>
              <a:gd name="connsiteY5" fmla="*/ 2362200 h 2476500"/>
              <a:gd name="connsiteX6" fmla="*/ 0 w 4229100"/>
              <a:gd name="connsiteY6" fmla="*/ 939800 h 2476500"/>
              <a:gd name="connsiteX7" fmla="*/ 266700 w 4229100"/>
              <a:gd name="connsiteY7" fmla="*/ 228600 h 2476500"/>
              <a:gd name="connsiteX0" fmla="*/ 266700 w 4229100"/>
              <a:gd name="connsiteY0" fmla="*/ 228600 h 2476500"/>
              <a:gd name="connsiteX1" fmla="*/ 3086100 w 4229100"/>
              <a:gd name="connsiteY1" fmla="*/ 0 h 2476500"/>
              <a:gd name="connsiteX2" fmla="*/ 4229100 w 4229100"/>
              <a:gd name="connsiteY2" fmla="*/ 228600 h 2476500"/>
              <a:gd name="connsiteX3" fmla="*/ 4102100 w 4229100"/>
              <a:gd name="connsiteY3" fmla="*/ 2324100 h 2476500"/>
              <a:gd name="connsiteX4" fmla="*/ 2349500 w 4229100"/>
              <a:gd name="connsiteY4" fmla="*/ 2476500 h 2476500"/>
              <a:gd name="connsiteX5" fmla="*/ 266700 w 4229100"/>
              <a:gd name="connsiteY5" fmla="*/ 2362200 h 2476500"/>
              <a:gd name="connsiteX6" fmla="*/ 0 w 4229100"/>
              <a:gd name="connsiteY6" fmla="*/ 939800 h 2476500"/>
              <a:gd name="connsiteX7" fmla="*/ 266700 w 4229100"/>
              <a:gd name="connsiteY7" fmla="*/ 228600 h 2476500"/>
              <a:gd name="connsiteX0" fmla="*/ 190500 w 4152900"/>
              <a:gd name="connsiteY0" fmla="*/ 228600 h 2476500"/>
              <a:gd name="connsiteX1" fmla="*/ 3009900 w 4152900"/>
              <a:gd name="connsiteY1" fmla="*/ 0 h 2476500"/>
              <a:gd name="connsiteX2" fmla="*/ 4152900 w 4152900"/>
              <a:gd name="connsiteY2" fmla="*/ 228600 h 2476500"/>
              <a:gd name="connsiteX3" fmla="*/ 4025900 w 4152900"/>
              <a:gd name="connsiteY3" fmla="*/ 2324100 h 2476500"/>
              <a:gd name="connsiteX4" fmla="*/ 2273300 w 4152900"/>
              <a:gd name="connsiteY4" fmla="*/ 2476500 h 2476500"/>
              <a:gd name="connsiteX5" fmla="*/ 190500 w 4152900"/>
              <a:gd name="connsiteY5" fmla="*/ 2362200 h 2476500"/>
              <a:gd name="connsiteX6" fmla="*/ 0 w 4152900"/>
              <a:gd name="connsiteY6" fmla="*/ 927100 h 2476500"/>
              <a:gd name="connsiteX7" fmla="*/ 190500 w 4152900"/>
              <a:gd name="connsiteY7" fmla="*/ 228600 h 2476500"/>
              <a:gd name="connsiteX0" fmla="*/ 203200 w 4152900"/>
              <a:gd name="connsiteY0" fmla="*/ 127000 h 2476500"/>
              <a:gd name="connsiteX1" fmla="*/ 3009900 w 4152900"/>
              <a:gd name="connsiteY1" fmla="*/ 0 h 2476500"/>
              <a:gd name="connsiteX2" fmla="*/ 4152900 w 4152900"/>
              <a:gd name="connsiteY2" fmla="*/ 228600 h 2476500"/>
              <a:gd name="connsiteX3" fmla="*/ 4025900 w 4152900"/>
              <a:gd name="connsiteY3" fmla="*/ 2324100 h 2476500"/>
              <a:gd name="connsiteX4" fmla="*/ 2273300 w 4152900"/>
              <a:gd name="connsiteY4" fmla="*/ 2476500 h 2476500"/>
              <a:gd name="connsiteX5" fmla="*/ 190500 w 4152900"/>
              <a:gd name="connsiteY5" fmla="*/ 2362200 h 2476500"/>
              <a:gd name="connsiteX6" fmla="*/ 0 w 4152900"/>
              <a:gd name="connsiteY6" fmla="*/ 927100 h 2476500"/>
              <a:gd name="connsiteX7" fmla="*/ 203200 w 4152900"/>
              <a:gd name="connsiteY7" fmla="*/ 127000 h 2476500"/>
              <a:gd name="connsiteX0" fmla="*/ 203200 w 4152900"/>
              <a:gd name="connsiteY0" fmla="*/ 127000 h 2476500"/>
              <a:gd name="connsiteX1" fmla="*/ 3009900 w 4152900"/>
              <a:gd name="connsiteY1" fmla="*/ 0 h 2476500"/>
              <a:gd name="connsiteX2" fmla="*/ 4152900 w 4152900"/>
              <a:gd name="connsiteY2" fmla="*/ 228600 h 2476500"/>
              <a:gd name="connsiteX3" fmla="*/ 4025900 w 4152900"/>
              <a:gd name="connsiteY3" fmla="*/ 2324100 h 2476500"/>
              <a:gd name="connsiteX4" fmla="*/ 2273300 w 4152900"/>
              <a:gd name="connsiteY4" fmla="*/ 2476500 h 2476500"/>
              <a:gd name="connsiteX5" fmla="*/ 127000 w 4152900"/>
              <a:gd name="connsiteY5" fmla="*/ 2400300 h 2476500"/>
              <a:gd name="connsiteX6" fmla="*/ 0 w 4152900"/>
              <a:gd name="connsiteY6" fmla="*/ 927100 h 2476500"/>
              <a:gd name="connsiteX7" fmla="*/ 203200 w 4152900"/>
              <a:gd name="connsiteY7" fmla="*/ 127000 h 2476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2900" h="2476500">
                <a:moveTo>
                  <a:pt x="203200" y="127000"/>
                </a:moveTo>
                <a:lnTo>
                  <a:pt x="3009900" y="0"/>
                </a:lnTo>
                <a:lnTo>
                  <a:pt x="4152900" y="228600"/>
                </a:lnTo>
                <a:lnTo>
                  <a:pt x="4025900" y="2324100"/>
                </a:lnTo>
                <a:lnTo>
                  <a:pt x="2273300" y="2476500"/>
                </a:lnTo>
                <a:lnTo>
                  <a:pt x="127000" y="2400300"/>
                </a:lnTo>
                <a:lnTo>
                  <a:pt x="0" y="927100"/>
                </a:lnTo>
                <a:lnTo>
                  <a:pt x="203200" y="127000"/>
                </a:lnTo>
                <a:close/>
              </a:path>
            </a:pathLst>
          </a:custGeom>
          <a:solidFill>
            <a:srgbClr val="E2001A"/>
          </a:solidFill>
          <a:ln>
            <a:noFill/>
          </a:ln>
        </p:spPr>
        <p:txBody>
          <a:bodyPr lIns="360000" tIns="374400" rIns="360000" bIns="421200">
            <a:spAutoFit/>
          </a:bodyPr>
          <a:lstStyle>
            <a:lvl1pPr marL="0" indent="0">
              <a:buNone/>
              <a:defRPr sz="1800" b="0" i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 sz="1800" dirty="0" smtClean="0">
                <a:solidFill>
                  <a:srgbClr val="FFFFFF"/>
                </a:solidFill>
                <a:latin typeface="Arial"/>
                <a:cs typeface="Arial"/>
              </a:rPr>
              <a:t>“Type</a:t>
            </a:r>
            <a:r>
              <a:rPr lang="en-US" sz="1800" baseline="0" dirty="0" smtClean="0">
                <a:solidFill>
                  <a:srgbClr val="FFFFFF"/>
                </a:solidFill>
                <a:latin typeface="Arial"/>
                <a:cs typeface="Arial"/>
              </a:rPr>
              <a:t> your quote here</a:t>
            </a:r>
            <a:r>
              <a:rPr lang="en-US" sz="1800" dirty="0" smtClean="0">
                <a:solidFill>
                  <a:srgbClr val="FFFFFF"/>
                </a:solidFill>
                <a:latin typeface="Arial"/>
                <a:cs typeface="Arial"/>
              </a:rPr>
              <a:t>, then resize the text box size and margins as necessary</a:t>
            </a:r>
            <a:r>
              <a:rPr lang="en-US" sz="1800" baseline="0" dirty="0" smtClean="0">
                <a:solidFill>
                  <a:srgbClr val="FFFFFF"/>
                </a:solidFill>
                <a:latin typeface="Arial"/>
                <a:cs typeface="Arial"/>
              </a:rPr>
              <a:t>.</a:t>
            </a:r>
            <a:r>
              <a:rPr lang="en-US" sz="1800" dirty="0" smtClean="0">
                <a:solidFill>
                  <a:srgbClr val="FFFFFF"/>
                </a:solidFill>
                <a:latin typeface="Arial"/>
                <a:cs typeface="Arial"/>
              </a:rPr>
              <a:t>”</a:t>
            </a:r>
            <a:br>
              <a:rPr lang="en-US" sz="1800" dirty="0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en-US" sz="1800" dirty="0" smtClean="0">
                <a:solidFill>
                  <a:srgbClr val="FFFFFF"/>
                </a:solidFill>
                <a:latin typeface="Arial"/>
                <a:cs typeface="Arial"/>
              </a:rPr>
              <a:t>Insert name, Job title</a:t>
            </a:r>
          </a:p>
        </p:txBody>
      </p:sp>
    </p:spTree>
    <p:extLst>
      <p:ext uri="{BB962C8B-B14F-4D97-AF65-F5344CB8AC3E}">
        <p14:creationId xmlns:p14="http://schemas.microsoft.com/office/powerpoint/2010/main" val="2841884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hapes 2_Divider red cop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716000" cy="771623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919173" y="6755043"/>
            <a:ext cx="11856006" cy="334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14441"/>
            <a:r>
              <a:rPr lang="en-US" sz="1575" dirty="0" err="1" smtClean="0">
                <a:solidFill>
                  <a:prstClr val="white"/>
                </a:solidFill>
                <a:latin typeface="Arial"/>
                <a:cs typeface="Arial"/>
              </a:rPr>
              <a:t>www.into-corporate.com</a:t>
            </a:r>
            <a:endParaRPr lang="en-US" sz="1575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pic>
        <p:nvPicPr>
          <p:cNvPr id="5" name="Picture 4" descr="INTO_logo_rev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8602" y="5192378"/>
            <a:ext cx="3098799" cy="590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993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6CC5A-AE4B-5042-8495-B5715C059A52}" type="datetimeFigureOut">
              <a:rPr lang="en-US" smtClean="0"/>
              <a:t>1/1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C1EE2-62C9-7045-B0E4-BBBAAA0B13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40666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SU shapes_Front cover shape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65238"/>
            <a:ext cx="13716000" cy="3151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4370" y="5846500"/>
            <a:ext cx="12368211" cy="541342"/>
          </a:xfrm>
        </p:spPr>
        <p:txBody>
          <a:bodyPr anchor="t">
            <a:normAutofit/>
          </a:bodyPr>
          <a:lstStyle>
            <a:lvl1pPr algn="l">
              <a:defRPr sz="27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6749" y="6387842"/>
            <a:ext cx="9658352" cy="937951"/>
          </a:xfrm>
        </p:spPr>
        <p:txBody>
          <a:bodyPr>
            <a:normAutofit/>
          </a:bodyPr>
          <a:lstStyle>
            <a:lvl1pPr marL="0" indent="0" algn="l">
              <a:buNone/>
              <a:defRPr sz="1800" b="0">
                <a:solidFill>
                  <a:srgbClr val="FFFFFF"/>
                </a:solidFill>
                <a:latin typeface="Arial"/>
                <a:cs typeface="Arial"/>
              </a:defRPr>
            </a:lvl1pPr>
            <a:lvl2pPr marL="514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88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43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57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7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86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01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15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US" dirty="0"/>
          </a:p>
        </p:txBody>
      </p:sp>
      <p:pic>
        <p:nvPicPr>
          <p:cNvPr id="6" name="Picture 5" descr="INTO_logo_rev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7238" y="6922832"/>
            <a:ext cx="2115344" cy="402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744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A5AED-EABC-2C4F-A4BB-CE06EB56EE0D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1/10/2018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C860DBA-B183-8C49-A4EE-4AF1B84E3C0B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800596"/>
            <a:ext cx="12346782" cy="5092756"/>
          </a:xfrm>
        </p:spPr>
        <p:txBody>
          <a:bodyPr/>
          <a:lstStyle>
            <a:lvl1pPr>
              <a:defRPr sz="3151"/>
            </a:lvl1pPr>
            <a:lvl2pPr>
              <a:defRPr sz="2700"/>
            </a:lvl2pPr>
            <a:lvl3pPr>
              <a:defRPr sz="2250"/>
            </a:lvl3pPr>
            <a:lvl4pPr>
              <a:defRPr sz="2025"/>
            </a:lvl4pPr>
            <a:lvl5pPr>
              <a:defRPr sz="2025"/>
            </a:lvl5pPr>
            <a:lvl6pPr>
              <a:defRPr sz="2025"/>
            </a:lvl6pPr>
            <a:lvl7pPr>
              <a:defRPr sz="2025"/>
            </a:lvl7pPr>
            <a:lvl8pPr>
              <a:defRPr sz="2025"/>
            </a:lvl8pPr>
            <a:lvl9pPr>
              <a:defRPr sz="2025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723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ernative 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664370" y="1899395"/>
            <a:ext cx="12368211" cy="541342"/>
          </a:xfrm>
        </p:spPr>
        <p:txBody>
          <a:bodyPr anchor="t">
            <a:normAutofit/>
          </a:bodyPr>
          <a:lstStyle>
            <a:lvl1pPr algn="l">
              <a:defRPr sz="27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664369" y="2440738"/>
            <a:ext cx="12368213" cy="937951"/>
          </a:xfrm>
        </p:spPr>
        <p:txBody>
          <a:bodyPr>
            <a:normAutofit/>
          </a:bodyPr>
          <a:lstStyle>
            <a:lvl1pPr marL="0" indent="0" algn="l">
              <a:buNone/>
              <a:defRPr sz="1800" b="0">
                <a:solidFill>
                  <a:srgbClr val="FFFFFF"/>
                </a:solidFill>
                <a:latin typeface="Arial"/>
                <a:cs typeface="Arial"/>
              </a:defRPr>
            </a:lvl1pPr>
            <a:lvl2pPr marL="514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88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43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57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7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86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01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15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US" dirty="0"/>
          </a:p>
        </p:txBody>
      </p:sp>
      <p:pic>
        <p:nvPicPr>
          <p:cNvPr id="10" name="Picture 9" descr="INTO_logo_rev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58" y="494211"/>
            <a:ext cx="2115344" cy="402961"/>
          </a:xfrm>
          <a:prstGeom prst="rect">
            <a:avLst/>
          </a:prstGeom>
        </p:spPr>
      </p:pic>
      <p:pic>
        <p:nvPicPr>
          <p:cNvPr id="9" name="Picture 8" descr="ISU shapes_Front cover shapes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65238"/>
            <a:ext cx="13716000" cy="315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SU shapes_Front cover shape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65238"/>
            <a:ext cx="13716000" cy="3151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4370" y="5846500"/>
            <a:ext cx="12368211" cy="541342"/>
          </a:xfrm>
        </p:spPr>
        <p:txBody>
          <a:bodyPr anchor="t">
            <a:normAutofit/>
          </a:bodyPr>
          <a:lstStyle>
            <a:lvl1pPr algn="l">
              <a:defRPr sz="27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6749" y="6387842"/>
            <a:ext cx="9658352" cy="937951"/>
          </a:xfrm>
        </p:spPr>
        <p:txBody>
          <a:bodyPr>
            <a:normAutofit/>
          </a:bodyPr>
          <a:lstStyle>
            <a:lvl1pPr marL="0" indent="0" algn="l">
              <a:buNone/>
              <a:defRPr sz="1800" b="0">
                <a:solidFill>
                  <a:srgbClr val="FFFFFF"/>
                </a:solidFill>
                <a:latin typeface="Arial"/>
                <a:cs typeface="Arial"/>
              </a:defRPr>
            </a:lvl1pPr>
            <a:lvl2pPr marL="514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88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43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57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7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86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01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15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US" dirty="0"/>
          </a:p>
        </p:txBody>
      </p:sp>
      <p:pic>
        <p:nvPicPr>
          <p:cNvPr id="6" name="Picture 5" descr="INTO_logo_rev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370" y="503738"/>
            <a:ext cx="2115344" cy="402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230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hapes 2_Quote page shape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05654"/>
            <a:ext cx="13716000" cy="2211184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60DBA-B183-8C49-A4EE-4AF1B84E3C0B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5" hasCustomPrompt="1"/>
          </p:nvPr>
        </p:nvSpPr>
        <p:spPr>
          <a:xfrm>
            <a:off x="6962775" y="2186438"/>
            <a:ext cx="5734050" cy="1634366"/>
          </a:xfrm>
          <a:custGeom>
            <a:avLst/>
            <a:gdLst>
              <a:gd name="connsiteX0" fmla="*/ 0 w 3962400"/>
              <a:gd name="connsiteY0" fmla="*/ 0 h 2133600"/>
              <a:gd name="connsiteX1" fmla="*/ 3962400 w 3962400"/>
              <a:gd name="connsiteY1" fmla="*/ 0 h 2133600"/>
              <a:gd name="connsiteX2" fmla="*/ 3962400 w 3962400"/>
              <a:gd name="connsiteY2" fmla="*/ 2133600 h 2133600"/>
              <a:gd name="connsiteX3" fmla="*/ 0 w 3962400"/>
              <a:gd name="connsiteY3" fmla="*/ 2133600 h 2133600"/>
              <a:gd name="connsiteX4" fmla="*/ 0 w 3962400"/>
              <a:gd name="connsiteY4" fmla="*/ 0 h 2133600"/>
              <a:gd name="connsiteX0" fmla="*/ 0 w 3962400"/>
              <a:gd name="connsiteY0" fmla="*/ 12700 h 2146300"/>
              <a:gd name="connsiteX1" fmla="*/ 2781300 w 3962400"/>
              <a:gd name="connsiteY1" fmla="*/ 0 h 2146300"/>
              <a:gd name="connsiteX2" fmla="*/ 3962400 w 3962400"/>
              <a:gd name="connsiteY2" fmla="*/ 12700 h 2146300"/>
              <a:gd name="connsiteX3" fmla="*/ 3962400 w 3962400"/>
              <a:gd name="connsiteY3" fmla="*/ 2146300 h 2146300"/>
              <a:gd name="connsiteX4" fmla="*/ 0 w 3962400"/>
              <a:gd name="connsiteY4" fmla="*/ 2146300 h 2146300"/>
              <a:gd name="connsiteX5" fmla="*/ 0 w 3962400"/>
              <a:gd name="connsiteY5" fmla="*/ 12700 h 2146300"/>
              <a:gd name="connsiteX0" fmla="*/ 0 w 3962400"/>
              <a:gd name="connsiteY0" fmla="*/ 228600 h 2362200"/>
              <a:gd name="connsiteX1" fmla="*/ 2819400 w 3962400"/>
              <a:gd name="connsiteY1" fmla="*/ 0 h 2362200"/>
              <a:gd name="connsiteX2" fmla="*/ 3962400 w 3962400"/>
              <a:gd name="connsiteY2" fmla="*/ 228600 h 2362200"/>
              <a:gd name="connsiteX3" fmla="*/ 3962400 w 3962400"/>
              <a:gd name="connsiteY3" fmla="*/ 2362200 h 2362200"/>
              <a:gd name="connsiteX4" fmla="*/ 0 w 3962400"/>
              <a:gd name="connsiteY4" fmla="*/ 2362200 h 2362200"/>
              <a:gd name="connsiteX5" fmla="*/ 0 w 3962400"/>
              <a:gd name="connsiteY5" fmla="*/ 228600 h 2362200"/>
              <a:gd name="connsiteX0" fmla="*/ 0 w 3962400"/>
              <a:gd name="connsiteY0" fmla="*/ 228600 h 2362200"/>
              <a:gd name="connsiteX1" fmla="*/ 2819400 w 3962400"/>
              <a:gd name="connsiteY1" fmla="*/ 0 h 2362200"/>
              <a:gd name="connsiteX2" fmla="*/ 3962400 w 3962400"/>
              <a:gd name="connsiteY2" fmla="*/ 228600 h 2362200"/>
              <a:gd name="connsiteX3" fmla="*/ 3962400 w 3962400"/>
              <a:gd name="connsiteY3" fmla="*/ 2362200 h 2362200"/>
              <a:gd name="connsiteX4" fmla="*/ 0 w 3962400"/>
              <a:gd name="connsiteY4" fmla="*/ 2362200 h 2362200"/>
              <a:gd name="connsiteX5" fmla="*/ 0 w 3962400"/>
              <a:gd name="connsiteY5" fmla="*/ 901700 h 2362200"/>
              <a:gd name="connsiteX6" fmla="*/ 0 w 3962400"/>
              <a:gd name="connsiteY6" fmla="*/ 228600 h 2362200"/>
              <a:gd name="connsiteX0" fmla="*/ 266700 w 4229100"/>
              <a:gd name="connsiteY0" fmla="*/ 228600 h 2362200"/>
              <a:gd name="connsiteX1" fmla="*/ 3086100 w 4229100"/>
              <a:gd name="connsiteY1" fmla="*/ 0 h 2362200"/>
              <a:gd name="connsiteX2" fmla="*/ 4229100 w 4229100"/>
              <a:gd name="connsiteY2" fmla="*/ 228600 h 2362200"/>
              <a:gd name="connsiteX3" fmla="*/ 4229100 w 4229100"/>
              <a:gd name="connsiteY3" fmla="*/ 2362200 h 2362200"/>
              <a:gd name="connsiteX4" fmla="*/ 266700 w 4229100"/>
              <a:gd name="connsiteY4" fmla="*/ 2362200 h 2362200"/>
              <a:gd name="connsiteX5" fmla="*/ 0 w 4229100"/>
              <a:gd name="connsiteY5" fmla="*/ 939800 h 2362200"/>
              <a:gd name="connsiteX6" fmla="*/ 266700 w 4229100"/>
              <a:gd name="connsiteY6" fmla="*/ 228600 h 2362200"/>
              <a:gd name="connsiteX0" fmla="*/ 266700 w 4229100"/>
              <a:gd name="connsiteY0" fmla="*/ 228600 h 2362200"/>
              <a:gd name="connsiteX1" fmla="*/ 3086100 w 4229100"/>
              <a:gd name="connsiteY1" fmla="*/ 0 h 2362200"/>
              <a:gd name="connsiteX2" fmla="*/ 4229100 w 4229100"/>
              <a:gd name="connsiteY2" fmla="*/ 228600 h 2362200"/>
              <a:gd name="connsiteX3" fmla="*/ 3937000 w 4229100"/>
              <a:gd name="connsiteY3" fmla="*/ 2247900 h 2362200"/>
              <a:gd name="connsiteX4" fmla="*/ 266700 w 4229100"/>
              <a:gd name="connsiteY4" fmla="*/ 2362200 h 2362200"/>
              <a:gd name="connsiteX5" fmla="*/ 0 w 4229100"/>
              <a:gd name="connsiteY5" fmla="*/ 939800 h 2362200"/>
              <a:gd name="connsiteX6" fmla="*/ 266700 w 4229100"/>
              <a:gd name="connsiteY6" fmla="*/ 228600 h 2362200"/>
              <a:gd name="connsiteX0" fmla="*/ 266700 w 4229100"/>
              <a:gd name="connsiteY0" fmla="*/ 228600 h 2362200"/>
              <a:gd name="connsiteX1" fmla="*/ 3086100 w 4229100"/>
              <a:gd name="connsiteY1" fmla="*/ 0 h 2362200"/>
              <a:gd name="connsiteX2" fmla="*/ 4229100 w 4229100"/>
              <a:gd name="connsiteY2" fmla="*/ 228600 h 2362200"/>
              <a:gd name="connsiteX3" fmla="*/ 3937000 w 4229100"/>
              <a:gd name="connsiteY3" fmla="*/ 2247900 h 2362200"/>
              <a:gd name="connsiteX4" fmla="*/ 2413000 w 4229100"/>
              <a:gd name="connsiteY4" fmla="*/ 2286000 h 2362200"/>
              <a:gd name="connsiteX5" fmla="*/ 266700 w 4229100"/>
              <a:gd name="connsiteY5" fmla="*/ 2362200 h 2362200"/>
              <a:gd name="connsiteX6" fmla="*/ 0 w 4229100"/>
              <a:gd name="connsiteY6" fmla="*/ 939800 h 2362200"/>
              <a:gd name="connsiteX7" fmla="*/ 266700 w 4229100"/>
              <a:gd name="connsiteY7" fmla="*/ 228600 h 2362200"/>
              <a:gd name="connsiteX0" fmla="*/ 266700 w 4229100"/>
              <a:gd name="connsiteY0" fmla="*/ 228600 h 2476500"/>
              <a:gd name="connsiteX1" fmla="*/ 3086100 w 4229100"/>
              <a:gd name="connsiteY1" fmla="*/ 0 h 2476500"/>
              <a:gd name="connsiteX2" fmla="*/ 4229100 w 4229100"/>
              <a:gd name="connsiteY2" fmla="*/ 228600 h 2476500"/>
              <a:gd name="connsiteX3" fmla="*/ 3937000 w 4229100"/>
              <a:gd name="connsiteY3" fmla="*/ 2247900 h 2476500"/>
              <a:gd name="connsiteX4" fmla="*/ 2349500 w 4229100"/>
              <a:gd name="connsiteY4" fmla="*/ 2476500 h 2476500"/>
              <a:gd name="connsiteX5" fmla="*/ 266700 w 4229100"/>
              <a:gd name="connsiteY5" fmla="*/ 2362200 h 2476500"/>
              <a:gd name="connsiteX6" fmla="*/ 0 w 4229100"/>
              <a:gd name="connsiteY6" fmla="*/ 939800 h 2476500"/>
              <a:gd name="connsiteX7" fmla="*/ 266700 w 4229100"/>
              <a:gd name="connsiteY7" fmla="*/ 228600 h 2476500"/>
              <a:gd name="connsiteX0" fmla="*/ 266700 w 4229100"/>
              <a:gd name="connsiteY0" fmla="*/ 228600 h 2476500"/>
              <a:gd name="connsiteX1" fmla="*/ 3086100 w 4229100"/>
              <a:gd name="connsiteY1" fmla="*/ 0 h 2476500"/>
              <a:gd name="connsiteX2" fmla="*/ 4229100 w 4229100"/>
              <a:gd name="connsiteY2" fmla="*/ 228600 h 2476500"/>
              <a:gd name="connsiteX3" fmla="*/ 4102100 w 4229100"/>
              <a:gd name="connsiteY3" fmla="*/ 2324100 h 2476500"/>
              <a:gd name="connsiteX4" fmla="*/ 2349500 w 4229100"/>
              <a:gd name="connsiteY4" fmla="*/ 2476500 h 2476500"/>
              <a:gd name="connsiteX5" fmla="*/ 266700 w 4229100"/>
              <a:gd name="connsiteY5" fmla="*/ 2362200 h 2476500"/>
              <a:gd name="connsiteX6" fmla="*/ 0 w 4229100"/>
              <a:gd name="connsiteY6" fmla="*/ 939800 h 2476500"/>
              <a:gd name="connsiteX7" fmla="*/ 266700 w 4229100"/>
              <a:gd name="connsiteY7" fmla="*/ 228600 h 2476500"/>
              <a:gd name="connsiteX0" fmla="*/ 190500 w 4152900"/>
              <a:gd name="connsiteY0" fmla="*/ 228600 h 2476500"/>
              <a:gd name="connsiteX1" fmla="*/ 3009900 w 4152900"/>
              <a:gd name="connsiteY1" fmla="*/ 0 h 2476500"/>
              <a:gd name="connsiteX2" fmla="*/ 4152900 w 4152900"/>
              <a:gd name="connsiteY2" fmla="*/ 228600 h 2476500"/>
              <a:gd name="connsiteX3" fmla="*/ 4025900 w 4152900"/>
              <a:gd name="connsiteY3" fmla="*/ 2324100 h 2476500"/>
              <a:gd name="connsiteX4" fmla="*/ 2273300 w 4152900"/>
              <a:gd name="connsiteY4" fmla="*/ 2476500 h 2476500"/>
              <a:gd name="connsiteX5" fmla="*/ 190500 w 4152900"/>
              <a:gd name="connsiteY5" fmla="*/ 2362200 h 2476500"/>
              <a:gd name="connsiteX6" fmla="*/ 0 w 4152900"/>
              <a:gd name="connsiteY6" fmla="*/ 927100 h 2476500"/>
              <a:gd name="connsiteX7" fmla="*/ 190500 w 4152900"/>
              <a:gd name="connsiteY7" fmla="*/ 228600 h 2476500"/>
              <a:gd name="connsiteX0" fmla="*/ 203200 w 4152900"/>
              <a:gd name="connsiteY0" fmla="*/ 127000 h 2476500"/>
              <a:gd name="connsiteX1" fmla="*/ 3009900 w 4152900"/>
              <a:gd name="connsiteY1" fmla="*/ 0 h 2476500"/>
              <a:gd name="connsiteX2" fmla="*/ 4152900 w 4152900"/>
              <a:gd name="connsiteY2" fmla="*/ 228600 h 2476500"/>
              <a:gd name="connsiteX3" fmla="*/ 4025900 w 4152900"/>
              <a:gd name="connsiteY3" fmla="*/ 2324100 h 2476500"/>
              <a:gd name="connsiteX4" fmla="*/ 2273300 w 4152900"/>
              <a:gd name="connsiteY4" fmla="*/ 2476500 h 2476500"/>
              <a:gd name="connsiteX5" fmla="*/ 190500 w 4152900"/>
              <a:gd name="connsiteY5" fmla="*/ 2362200 h 2476500"/>
              <a:gd name="connsiteX6" fmla="*/ 0 w 4152900"/>
              <a:gd name="connsiteY6" fmla="*/ 927100 h 2476500"/>
              <a:gd name="connsiteX7" fmla="*/ 203200 w 4152900"/>
              <a:gd name="connsiteY7" fmla="*/ 127000 h 2476500"/>
              <a:gd name="connsiteX0" fmla="*/ 203200 w 4152900"/>
              <a:gd name="connsiteY0" fmla="*/ 127000 h 2476500"/>
              <a:gd name="connsiteX1" fmla="*/ 3009900 w 4152900"/>
              <a:gd name="connsiteY1" fmla="*/ 0 h 2476500"/>
              <a:gd name="connsiteX2" fmla="*/ 4152900 w 4152900"/>
              <a:gd name="connsiteY2" fmla="*/ 228600 h 2476500"/>
              <a:gd name="connsiteX3" fmla="*/ 4025900 w 4152900"/>
              <a:gd name="connsiteY3" fmla="*/ 2324100 h 2476500"/>
              <a:gd name="connsiteX4" fmla="*/ 2273300 w 4152900"/>
              <a:gd name="connsiteY4" fmla="*/ 2476500 h 2476500"/>
              <a:gd name="connsiteX5" fmla="*/ 127000 w 4152900"/>
              <a:gd name="connsiteY5" fmla="*/ 2400300 h 2476500"/>
              <a:gd name="connsiteX6" fmla="*/ 0 w 4152900"/>
              <a:gd name="connsiteY6" fmla="*/ 927100 h 2476500"/>
              <a:gd name="connsiteX7" fmla="*/ 203200 w 4152900"/>
              <a:gd name="connsiteY7" fmla="*/ 127000 h 2476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2900" h="2476500">
                <a:moveTo>
                  <a:pt x="203200" y="127000"/>
                </a:moveTo>
                <a:lnTo>
                  <a:pt x="3009900" y="0"/>
                </a:lnTo>
                <a:lnTo>
                  <a:pt x="4152900" y="228600"/>
                </a:lnTo>
                <a:lnTo>
                  <a:pt x="4025900" y="2324100"/>
                </a:lnTo>
                <a:lnTo>
                  <a:pt x="2273300" y="2476500"/>
                </a:lnTo>
                <a:lnTo>
                  <a:pt x="127000" y="2400300"/>
                </a:lnTo>
                <a:lnTo>
                  <a:pt x="0" y="927100"/>
                </a:lnTo>
                <a:lnTo>
                  <a:pt x="203200" y="127000"/>
                </a:lnTo>
                <a:close/>
              </a:path>
            </a:pathLst>
          </a:custGeom>
          <a:solidFill>
            <a:srgbClr val="E2001A"/>
          </a:solidFill>
          <a:ln>
            <a:noFill/>
          </a:ln>
        </p:spPr>
        <p:txBody>
          <a:bodyPr lIns="360000" tIns="374400" rIns="360000" bIns="421200">
            <a:spAutoFit/>
          </a:bodyPr>
          <a:lstStyle>
            <a:lvl1pPr marL="0" indent="0">
              <a:buNone/>
              <a:defRPr sz="1800" b="0" i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 sz="1800" dirty="0" smtClean="0">
                <a:solidFill>
                  <a:srgbClr val="FFFFFF"/>
                </a:solidFill>
                <a:latin typeface="Arial"/>
                <a:cs typeface="Arial"/>
              </a:rPr>
              <a:t>“Type</a:t>
            </a:r>
            <a:r>
              <a:rPr lang="en-US" sz="1800" baseline="0" dirty="0" smtClean="0">
                <a:solidFill>
                  <a:srgbClr val="FFFFFF"/>
                </a:solidFill>
                <a:latin typeface="Arial"/>
                <a:cs typeface="Arial"/>
              </a:rPr>
              <a:t> your quote here</a:t>
            </a:r>
            <a:r>
              <a:rPr lang="en-US" sz="1800" dirty="0" smtClean="0">
                <a:solidFill>
                  <a:srgbClr val="FFFFFF"/>
                </a:solidFill>
                <a:latin typeface="Arial"/>
                <a:cs typeface="Arial"/>
              </a:rPr>
              <a:t>, then resize the text box size and margins as necessary</a:t>
            </a:r>
            <a:r>
              <a:rPr lang="en-US" sz="1800" baseline="0" dirty="0" smtClean="0">
                <a:solidFill>
                  <a:srgbClr val="FFFFFF"/>
                </a:solidFill>
                <a:latin typeface="Arial"/>
                <a:cs typeface="Arial"/>
              </a:rPr>
              <a:t>.</a:t>
            </a:r>
            <a:r>
              <a:rPr lang="en-US" sz="1800" dirty="0" smtClean="0">
                <a:solidFill>
                  <a:srgbClr val="FFFFFF"/>
                </a:solidFill>
                <a:latin typeface="Arial"/>
                <a:cs typeface="Arial"/>
              </a:rPr>
              <a:t>”</a:t>
            </a:r>
            <a:br>
              <a:rPr lang="en-US" sz="1800" dirty="0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en-US" sz="1800" dirty="0" smtClean="0">
                <a:solidFill>
                  <a:srgbClr val="FFFFFF"/>
                </a:solidFill>
                <a:latin typeface="Arial"/>
                <a:cs typeface="Arial"/>
              </a:rPr>
              <a:t>Insert name, Job title</a:t>
            </a:r>
          </a:p>
        </p:txBody>
      </p:sp>
    </p:spTree>
    <p:extLst>
      <p:ext uri="{BB962C8B-B14F-4D97-AF65-F5344CB8AC3E}">
        <p14:creationId xmlns:p14="http://schemas.microsoft.com/office/powerpoint/2010/main" val="3107973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383" y="1787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3" y="1787"/>
                        <a:ext cx="2381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s 1_Divider red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716000" cy="77162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0320" y="2381908"/>
            <a:ext cx="8919099" cy="1255915"/>
          </a:xfrm>
        </p:spPr>
        <p:txBody>
          <a:bodyPr anchor="t">
            <a:normAutofit/>
          </a:bodyPr>
          <a:lstStyle>
            <a:lvl1pPr algn="l">
              <a:defRPr sz="3601" b="1" cap="all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50320" y="3879855"/>
            <a:ext cx="8919099" cy="1592229"/>
          </a:xfrm>
        </p:spPr>
        <p:txBody>
          <a:bodyPr anchor="t"/>
          <a:lstStyle>
            <a:lvl1pPr marL="0" indent="0">
              <a:buNone/>
              <a:defRPr sz="2250">
                <a:solidFill>
                  <a:srgbClr val="FFFFFF"/>
                </a:solidFill>
              </a:defRPr>
            </a:lvl1pPr>
            <a:lvl2pPr marL="514441" indent="0">
              <a:buNone/>
              <a:defRPr sz="2025">
                <a:solidFill>
                  <a:schemeClr val="tx1">
                    <a:tint val="75000"/>
                  </a:schemeClr>
                </a:solidFill>
              </a:defRPr>
            </a:lvl2pPr>
            <a:lvl3pPr marL="102888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43324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4pPr>
            <a:lvl5pPr marL="2057766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5pPr>
            <a:lvl6pPr marL="2572207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6pPr>
            <a:lvl7pPr marL="3086649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7pPr>
            <a:lvl8pPr marL="3601090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8pPr>
            <a:lvl9pPr marL="4115532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4378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hapes 1-06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716000" cy="77162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9406" y="4725031"/>
            <a:ext cx="8919099" cy="1255915"/>
          </a:xfrm>
        </p:spPr>
        <p:txBody>
          <a:bodyPr anchor="t">
            <a:normAutofit/>
          </a:bodyPr>
          <a:lstStyle>
            <a:lvl1pPr algn="l">
              <a:defRPr sz="3601" b="1" cap="all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9406" y="6222979"/>
            <a:ext cx="8919099" cy="1182588"/>
          </a:xfrm>
        </p:spPr>
        <p:txBody>
          <a:bodyPr anchor="t"/>
          <a:lstStyle>
            <a:lvl1pPr marL="0" indent="0">
              <a:buNone/>
              <a:defRPr sz="2250">
                <a:solidFill>
                  <a:srgbClr val="FFFFFF"/>
                </a:solidFill>
              </a:defRPr>
            </a:lvl1pPr>
            <a:lvl2pPr marL="514441" indent="0">
              <a:buNone/>
              <a:defRPr sz="2025">
                <a:solidFill>
                  <a:schemeClr val="tx1">
                    <a:tint val="75000"/>
                  </a:schemeClr>
                </a:solidFill>
              </a:defRPr>
            </a:lvl2pPr>
            <a:lvl3pPr marL="102888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43324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4pPr>
            <a:lvl5pPr marL="2057766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5pPr>
            <a:lvl6pPr marL="2572207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6pPr>
            <a:lvl7pPr marL="3086649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7pPr>
            <a:lvl8pPr marL="3601090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8pPr>
            <a:lvl9pPr marL="4115532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4950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hapes 4-07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716000" cy="77162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2953" y="3005020"/>
            <a:ext cx="8919099" cy="1255915"/>
          </a:xfrm>
        </p:spPr>
        <p:txBody>
          <a:bodyPr anchor="t">
            <a:normAutofit/>
          </a:bodyPr>
          <a:lstStyle>
            <a:lvl1pPr algn="l">
              <a:defRPr sz="3601" b="1" cap="all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82953" y="4502968"/>
            <a:ext cx="8919099" cy="797345"/>
          </a:xfrm>
        </p:spPr>
        <p:txBody>
          <a:bodyPr anchor="t"/>
          <a:lstStyle>
            <a:lvl1pPr marL="0" indent="0">
              <a:buNone/>
              <a:defRPr sz="2250">
                <a:solidFill>
                  <a:srgbClr val="FFFFFF"/>
                </a:solidFill>
              </a:defRPr>
            </a:lvl1pPr>
            <a:lvl2pPr marL="514441" indent="0">
              <a:buNone/>
              <a:defRPr sz="2025">
                <a:solidFill>
                  <a:schemeClr val="tx1">
                    <a:tint val="75000"/>
                  </a:schemeClr>
                </a:solidFill>
              </a:defRPr>
            </a:lvl2pPr>
            <a:lvl3pPr marL="102888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43324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4pPr>
            <a:lvl5pPr marL="2057766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5pPr>
            <a:lvl6pPr marL="2572207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6pPr>
            <a:lvl7pPr marL="3086649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7pPr>
            <a:lvl8pPr marL="3601090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8pPr>
            <a:lvl9pPr marL="4115532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4193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hapes 4-08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716000" cy="77162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1896" y="3548154"/>
            <a:ext cx="8919099" cy="1255915"/>
          </a:xfrm>
        </p:spPr>
        <p:txBody>
          <a:bodyPr anchor="t">
            <a:normAutofit/>
          </a:bodyPr>
          <a:lstStyle>
            <a:lvl1pPr algn="l">
              <a:defRPr sz="3601" b="1" cap="all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1896" y="5046101"/>
            <a:ext cx="8919099" cy="1592229"/>
          </a:xfrm>
        </p:spPr>
        <p:txBody>
          <a:bodyPr anchor="t"/>
          <a:lstStyle>
            <a:lvl1pPr marL="0" indent="0">
              <a:buNone/>
              <a:defRPr sz="2250">
                <a:solidFill>
                  <a:srgbClr val="FFFFFF"/>
                </a:solidFill>
              </a:defRPr>
            </a:lvl1pPr>
            <a:lvl2pPr marL="514441" indent="0">
              <a:buNone/>
              <a:defRPr sz="2025">
                <a:solidFill>
                  <a:schemeClr val="tx1">
                    <a:tint val="75000"/>
                  </a:schemeClr>
                </a:solidFill>
              </a:defRPr>
            </a:lvl2pPr>
            <a:lvl3pPr marL="102888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43324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4pPr>
            <a:lvl5pPr marL="2057766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5pPr>
            <a:lvl6pPr marL="2572207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6pPr>
            <a:lvl7pPr marL="3086649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7pPr>
            <a:lvl8pPr marL="3601090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8pPr>
            <a:lvl9pPr marL="4115532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1826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hapes 2_Divider red cop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716000" cy="771623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919173" y="6755043"/>
            <a:ext cx="11856006" cy="334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14441"/>
            <a:r>
              <a:rPr lang="en-US" sz="1575" dirty="0" err="1" smtClean="0">
                <a:solidFill>
                  <a:prstClr val="white"/>
                </a:solidFill>
                <a:latin typeface="Arial"/>
                <a:cs typeface="Arial"/>
              </a:rPr>
              <a:t>www.into-corporate.com</a:t>
            </a:r>
            <a:endParaRPr lang="en-US" sz="1575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pic>
        <p:nvPicPr>
          <p:cNvPr id="5" name="Picture 4" descr="INTO_logo_rev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8602" y="5192378"/>
            <a:ext cx="3098799" cy="590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082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3470" y="4958783"/>
            <a:ext cx="11658600" cy="1532650"/>
          </a:xfrm>
        </p:spPr>
        <p:txBody>
          <a:bodyPr anchor="t"/>
          <a:lstStyle>
            <a:lvl1pPr algn="l">
              <a:defRPr sz="54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3470" y="3270726"/>
            <a:ext cx="11658600" cy="1688058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1232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2465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3698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49312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6164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7396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8629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9862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6CC5A-AE4B-5042-8495-B5715C059A52}" type="datetimeFigureOut">
              <a:rPr lang="en-US" smtClean="0"/>
              <a:t>1/1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C1EE2-62C9-7045-B0E4-BBBAAA0B13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6992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800596"/>
            <a:ext cx="6057900" cy="5092756"/>
          </a:xfrm>
        </p:spPr>
        <p:txBody>
          <a:bodyPr/>
          <a:lstStyle>
            <a:lvl1pPr>
              <a:defRPr sz="3151"/>
            </a:lvl1pPr>
            <a:lvl2pPr>
              <a:defRPr sz="2700"/>
            </a:lvl2pPr>
            <a:lvl3pPr>
              <a:defRPr sz="2250"/>
            </a:lvl3pPr>
            <a:lvl4pPr>
              <a:defRPr sz="2025"/>
            </a:lvl4pPr>
            <a:lvl5pPr>
              <a:defRPr sz="2025"/>
            </a:lvl5pPr>
            <a:lvl6pPr>
              <a:defRPr sz="2025"/>
            </a:lvl6pPr>
            <a:lvl7pPr>
              <a:defRPr sz="2025"/>
            </a:lvl7pPr>
            <a:lvl8pPr>
              <a:defRPr sz="2025"/>
            </a:lvl8pPr>
            <a:lvl9pPr>
              <a:defRPr sz="2025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72300" y="1800596"/>
            <a:ext cx="6057900" cy="5092756"/>
          </a:xfrm>
        </p:spPr>
        <p:txBody>
          <a:bodyPr/>
          <a:lstStyle>
            <a:lvl1pPr>
              <a:defRPr sz="3151"/>
            </a:lvl1pPr>
            <a:lvl2pPr>
              <a:defRPr sz="2700"/>
            </a:lvl2pPr>
            <a:lvl3pPr>
              <a:defRPr sz="2250"/>
            </a:lvl3pPr>
            <a:lvl4pPr>
              <a:defRPr sz="2025"/>
            </a:lvl4pPr>
            <a:lvl5pPr>
              <a:defRPr sz="2025"/>
            </a:lvl5pPr>
            <a:lvl6pPr>
              <a:defRPr sz="2025"/>
            </a:lvl6pPr>
            <a:lvl7pPr>
              <a:defRPr sz="2025"/>
            </a:lvl7pPr>
            <a:lvl8pPr>
              <a:defRPr sz="2025"/>
            </a:lvl8pPr>
            <a:lvl9pPr>
              <a:defRPr sz="2025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A5AED-EABC-2C4F-A4BB-CE06EB56EE0D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1/10/2018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686300" y="7242394"/>
            <a:ext cx="4343400" cy="410850"/>
          </a:xfrm>
          <a:prstGeom prst="rect">
            <a:avLst/>
          </a:prstGeom>
        </p:spPr>
        <p:txBody>
          <a:bodyPr/>
          <a:lstStyle/>
          <a:p>
            <a:pPr defTabSz="514441"/>
            <a:endParaRPr lang="en-US" sz="2025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60DBA-B183-8C49-A4EE-4AF1B84E3C0B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847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727358"/>
            <a:ext cx="6060282" cy="719880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14441" indent="0">
              <a:buNone/>
              <a:defRPr sz="2250" b="1"/>
            </a:lvl2pPr>
            <a:lvl3pPr marL="1028883" indent="0">
              <a:buNone/>
              <a:defRPr sz="2025" b="1"/>
            </a:lvl3pPr>
            <a:lvl4pPr marL="1543324" indent="0">
              <a:buNone/>
              <a:defRPr sz="1800" b="1"/>
            </a:lvl4pPr>
            <a:lvl5pPr marL="2057766" indent="0">
              <a:buNone/>
              <a:defRPr sz="1800" b="1"/>
            </a:lvl5pPr>
            <a:lvl6pPr marL="2572207" indent="0">
              <a:buNone/>
              <a:defRPr sz="1800" b="1"/>
            </a:lvl6pPr>
            <a:lvl7pPr marL="3086649" indent="0">
              <a:buNone/>
              <a:defRPr sz="1800" b="1"/>
            </a:lvl7pPr>
            <a:lvl8pPr marL="3601090" indent="0">
              <a:buNone/>
              <a:defRPr sz="1800" b="1"/>
            </a:lvl8pPr>
            <a:lvl9pPr marL="4115532" indent="0">
              <a:buNone/>
              <a:defRPr sz="18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2447238"/>
            <a:ext cx="6060282" cy="4446114"/>
          </a:xfrm>
        </p:spPr>
        <p:txBody>
          <a:bodyPr/>
          <a:lstStyle>
            <a:lvl1pPr>
              <a:defRPr sz="2700"/>
            </a:lvl1pPr>
            <a:lvl2pPr>
              <a:defRPr sz="2250"/>
            </a:lvl2pPr>
            <a:lvl3pPr>
              <a:defRPr sz="2025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967538" y="1727358"/>
            <a:ext cx="6062663" cy="719880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14441" indent="0">
              <a:buNone/>
              <a:defRPr sz="2250" b="1"/>
            </a:lvl2pPr>
            <a:lvl3pPr marL="1028883" indent="0">
              <a:buNone/>
              <a:defRPr sz="2025" b="1"/>
            </a:lvl3pPr>
            <a:lvl4pPr marL="1543324" indent="0">
              <a:buNone/>
              <a:defRPr sz="1800" b="1"/>
            </a:lvl4pPr>
            <a:lvl5pPr marL="2057766" indent="0">
              <a:buNone/>
              <a:defRPr sz="1800" b="1"/>
            </a:lvl5pPr>
            <a:lvl6pPr marL="2572207" indent="0">
              <a:buNone/>
              <a:defRPr sz="1800" b="1"/>
            </a:lvl6pPr>
            <a:lvl7pPr marL="3086649" indent="0">
              <a:buNone/>
              <a:defRPr sz="1800" b="1"/>
            </a:lvl7pPr>
            <a:lvl8pPr marL="3601090" indent="0">
              <a:buNone/>
              <a:defRPr sz="1800" b="1"/>
            </a:lvl8pPr>
            <a:lvl9pPr marL="4115532" indent="0">
              <a:buNone/>
              <a:defRPr sz="18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967538" y="2447238"/>
            <a:ext cx="6062663" cy="4446114"/>
          </a:xfrm>
        </p:spPr>
        <p:txBody>
          <a:bodyPr/>
          <a:lstStyle>
            <a:lvl1pPr>
              <a:defRPr sz="2700"/>
            </a:lvl1pPr>
            <a:lvl2pPr>
              <a:defRPr sz="2250"/>
            </a:lvl2pPr>
            <a:lvl3pPr>
              <a:defRPr sz="2025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A5AED-EABC-2C4F-A4BB-CE06EB56EE0D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1/10/2018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686300" y="7242394"/>
            <a:ext cx="4343400" cy="410850"/>
          </a:xfrm>
          <a:prstGeom prst="rect">
            <a:avLst/>
          </a:prstGeom>
        </p:spPr>
        <p:txBody>
          <a:bodyPr/>
          <a:lstStyle/>
          <a:p>
            <a:pPr defTabSz="514441"/>
            <a:endParaRPr lang="en-US" sz="2025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60DBA-B183-8C49-A4EE-4AF1B84E3C0B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7126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A5AED-EABC-2C4F-A4BB-CE06EB56EE0D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1/10/2018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686300" y="7242394"/>
            <a:ext cx="4343400" cy="410850"/>
          </a:xfrm>
          <a:prstGeom prst="rect">
            <a:avLst/>
          </a:prstGeom>
        </p:spPr>
        <p:txBody>
          <a:bodyPr/>
          <a:lstStyle/>
          <a:p>
            <a:pPr defTabSz="514441"/>
            <a:endParaRPr lang="en-US" sz="2025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60DBA-B183-8C49-A4EE-4AF1B84E3C0B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00501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A5AED-EABC-2C4F-A4BB-CE06EB56EE0D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1/10/2018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686300" y="7242394"/>
            <a:ext cx="4343400" cy="410850"/>
          </a:xfrm>
          <a:prstGeom prst="rect">
            <a:avLst/>
          </a:prstGeom>
        </p:spPr>
        <p:txBody>
          <a:bodyPr/>
          <a:lstStyle/>
          <a:p>
            <a:pPr defTabSz="514441"/>
            <a:endParaRPr lang="en-US" sz="2025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60DBA-B183-8C49-A4EE-4AF1B84E3C0B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25517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1" y="307245"/>
            <a:ext cx="4512470" cy="1307575"/>
          </a:xfrm>
        </p:spPr>
        <p:txBody>
          <a:bodyPr anchor="b"/>
          <a:lstStyle>
            <a:lvl1pPr algn="l">
              <a:defRPr sz="225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62575" y="307245"/>
            <a:ext cx="7667625" cy="6586107"/>
          </a:xfrm>
        </p:spPr>
        <p:txBody>
          <a:bodyPr/>
          <a:lstStyle>
            <a:lvl1pPr>
              <a:defRPr sz="3601"/>
            </a:lvl1pPr>
            <a:lvl2pPr>
              <a:defRPr sz="3151"/>
            </a:lvl2pPr>
            <a:lvl3pPr>
              <a:defRPr sz="2700"/>
            </a:lvl3pPr>
            <a:lvl4pPr>
              <a:defRPr sz="2250"/>
            </a:lvl4pPr>
            <a:lvl5pPr>
              <a:defRPr sz="2250"/>
            </a:lvl5pPr>
            <a:lvl6pPr>
              <a:defRPr sz="2250"/>
            </a:lvl6pPr>
            <a:lvl7pPr>
              <a:defRPr sz="2250"/>
            </a:lvl7pPr>
            <a:lvl8pPr>
              <a:defRPr sz="2250"/>
            </a:lvl8pPr>
            <a:lvl9pPr>
              <a:defRPr sz="225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1" y="1614820"/>
            <a:ext cx="4512470" cy="5278532"/>
          </a:xfrm>
        </p:spPr>
        <p:txBody>
          <a:bodyPr/>
          <a:lstStyle>
            <a:lvl1pPr marL="0" indent="0">
              <a:buNone/>
              <a:defRPr sz="1575"/>
            </a:lvl1pPr>
            <a:lvl2pPr marL="514441" indent="0">
              <a:buNone/>
              <a:defRPr sz="1350"/>
            </a:lvl2pPr>
            <a:lvl3pPr marL="1028883" indent="0">
              <a:buNone/>
              <a:defRPr sz="1125"/>
            </a:lvl3pPr>
            <a:lvl4pPr marL="1543324" indent="0">
              <a:buNone/>
              <a:defRPr sz="1013"/>
            </a:lvl4pPr>
            <a:lvl5pPr marL="2057766" indent="0">
              <a:buNone/>
              <a:defRPr sz="1013"/>
            </a:lvl5pPr>
            <a:lvl6pPr marL="2572207" indent="0">
              <a:buNone/>
              <a:defRPr sz="1013"/>
            </a:lvl6pPr>
            <a:lvl7pPr marL="3086649" indent="0">
              <a:buNone/>
              <a:defRPr sz="1013"/>
            </a:lvl7pPr>
            <a:lvl8pPr marL="3601090" indent="0">
              <a:buNone/>
              <a:defRPr sz="1013"/>
            </a:lvl8pPr>
            <a:lvl9pPr marL="4115532" indent="0">
              <a:buNone/>
              <a:defRPr sz="1013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A5AED-EABC-2C4F-A4BB-CE06EB56EE0D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1/10/2018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686300" y="7242394"/>
            <a:ext cx="4343400" cy="410850"/>
          </a:xfrm>
          <a:prstGeom prst="rect">
            <a:avLst/>
          </a:prstGeom>
        </p:spPr>
        <p:txBody>
          <a:bodyPr/>
          <a:lstStyle/>
          <a:p>
            <a:pPr defTabSz="514441"/>
            <a:endParaRPr lang="en-US" sz="2025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60DBA-B183-8C49-A4EE-4AF1B84E3C0B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59854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8432" y="5401787"/>
            <a:ext cx="8229600" cy="637711"/>
          </a:xfrm>
        </p:spPr>
        <p:txBody>
          <a:bodyPr anchor="b"/>
          <a:lstStyle>
            <a:lvl1pPr algn="l">
              <a:defRPr sz="225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88432" y="689514"/>
            <a:ext cx="8229600" cy="4630103"/>
          </a:xfrm>
        </p:spPr>
        <p:txBody>
          <a:bodyPr/>
          <a:lstStyle>
            <a:lvl1pPr marL="0" indent="0">
              <a:buNone/>
              <a:defRPr sz="3601"/>
            </a:lvl1pPr>
            <a:lvl2pPr marL="514441" indent="0">
              <a:buNone/>
              <a:defRPr sz="3151"/>
            </a:lvl2pPr>
            <a:lvl3pPr marL="1028883" indent="0">
              <a:buNone/>
              <a:defRPr sz="2700"/>
            </a:lvl3pPr>
            <a:lvl4pPr marL="1543324" indent="0">
              <a:buNone/>
              <a:defRPr sz="2250"/>
            </a:lvl4pPr>
            <a:lvl5pPr marL="2057766" indent="0">
              <a:buNone/>
              <a:defRPr sz="2250"/>
            </a:lvl5pPr>
            <a:lvl6pPr marL="2572207" indent="0">
              <a:buNone/>
              <a:defRPr sz="2250"/>
            </a:lvl6pPr>
            <a:lvl7pPr marL="3086649" indent="0">
              <a:buNone/>
              <a:defRPr sz="2250"/>
            </a:lvl7pPr>
            <a:lvl8pPr marL="3601090" indent="0">
              <a:buNone/>
              <a:defRPr sz="2250"/>
            </a:lvl8pPr>
            <a:lvl9pPr marL="4115532" indent="0">
              <a:buNone/>
              <a:defRPr sz="225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88432" y="6039498"/>
            <a:ext cx="8229600" cy="905656"/>
          </a:xfrm>
        </p:spPr>
        <p:txBody>
          <a:bodyPr/>
          <a:lstStyle>
            <a:lvl1pPr marL="0" indent="0">
              <a:buNone/>
              <a:defRPr sz="1575"/>
            </a:lvl1pPr>
            <a:lvl2pPr marL="514441" indent="0">
              <a:buNone/>
              <a:defRPr sz="1350"/>
            </a:lvl2pPr>
            <a:lvl3pPr marL="1028883" indent="0">
              <a:buNone/>
              <a:defRPr sz="1125"/>
            </a:lvl3pPr>
            <a:lvl4pPr marL="1543324" indent="0">
              <a:buNone/>
              <a:defRPr sz="1013"/>
            </a:lvl4pPr>
            <a:lvl5pPr marL="2057766" indent="0">
              <a:buNone/>
              <a:defRPr sz="1013"/>
            </a:lvl5pPr>
            <a:lvl6pPr marL="2572207" indent="0">
              <a:buNone/>
              <a:defRPr sz="1013"/>
            </a:lvl6pPr>
            <a:lvl7pPr marL="3086649" indent="0">
              <a:buNone/>
              <a:defRPr sz="1013"/>
            </a:lvl7pPr>
            <a:lvl8pPr marL="3601090" indent="0">
              <a:buNone/>
              <a:defRPr sz="1013"/>
            </a:lvl8pPr>
            <a:lvl9pPr marL="4115532" indent="0">
              <a:buNone/>
              <a:defRPr sz="1013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A5AED-EABC-2C4F-A4BB-CE06EB56EE0D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1/10/2018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686300" y="7242394"/>
            <a:ext cx="4343400" cy="410850"/>
          </a:xfrm>
          <a:prstGeom prst="rect">
            <a:avLst/>
          </a:prstGeom>
        </p:spPr>
        <p:txBody>
          <a:bodyPr/>
          <a:lstStyle/>
          <a:p>
            <a:pPr defTabSz="514441"/>
            <a:endParaRPr lang="en-US" sz="2025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60DBA-B183-8C49-A4EE-4AF1B84E3C0B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2095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A5AED-EABC-2C4F-A4BB-CE06EB56EE0D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1/10/2018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686300" y="7242394"/>
            <a:ext cx="4343400" cy="410850"/>
          </a:xfrm>
          <a:prstGeom prst="rect">
            <a:avLst/>
          </a:prstGeom>
        </p:spPr>
        <p:txBody>
          <a:bodyPr/>
          <a:lstStyle/>
          <a:p>
            <a:pPr defTabSz="514441"/>
            <a:endParaRPr lang="en-US" sz="2025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60DBA-B183-8C49-A4EE-4AF1B84E3C0B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2236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944100" y="309032"/>
            <a:ext cx="3086100" cy="6584321"/>
          </a:xfrm>
        </p:spPr>
        <p:txBody>
          <a:bodyPr vert="eaVert"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309032"/>
            <a:ext cx="9029700" cy="6584321"/>
          </a:xfrm>
        </p:spPr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A5AED-EABC-2C4F-A4BB-CE06EB56EE0D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1/10/2018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686300" y="7242394"/>
            <a:ext cx="4343400" cy="410850"/>
          </a:xfrm>
          <a:prstGeom prst="rect">
            <a:avLst/>
          </a:prstGeom>
        </p:spPr>
        <p:txBody>
          <a:bodyPr/>
          <a:lstStyle/>
          <a:p>
            <a:pPr defTabSz="514441"/>
            <a:endParaRPr lang="en-US" sz="2025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60DBA-B183-8C49-A4EE-4AF1B84E3C0B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874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8700" y="2025670"/>
            <a:ext cx="9144000" cy="5730467"/>
          </a:xfrm>
        </p:spPr>
        <p:txBody>
          <a:bodyPr/>
          <a:lstStyle>
            <a:lvl1pPr>
              <a:defRPr sz="38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401300" y="2025670"/>
            <a:ext cx="9144000" cy="5730467"/>
          </a:xfrm>
        </p:spPr>
        <p:txBody>
          <a:bodyPr/>
          <a:lstStyle>
            <a:lvl1pPr>
              <a:defRPr sz="38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6CC5A-AE4B-5042-8495-B5715C059A52}" type="datetimeFigureOut">
              <a:rPr lang="en-US" smtClean="0"/>
              <a:t>1/10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C1EE2-62C9-7045-B0E4-BBBAAA0B13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4658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09031"/>
            <a:ext cx="12344400" cy="128614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727358"/>
            <a:ext cx="6060282" cy="719880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12328" indent="0">
              <a:buNone/>
              <a:defRPr sz="2700" b="1"/>
            </a:lvl2pPr>
            <a:lvl3pPr marL="1224656" indent="0">
              <a:buNone/>
              <a:defRPr sz="2400" b="1"/>
            </a:lvl3pPr>
            <a:lvl4pPr marL="1836984" indent="0">
              <a:buNone/>
              <a:defRPr sz="2100" b="1"/>
            </a:lvl4pPr>
            <a:lvl5pPr marL="2449312" indent="0">
              <a:buNone/>
              <a:defRPr sz="2100" b="1"/>
            </a:lvl5pPr>
            <a:lvl6pPr marL="3061640" indent="0">
              <a:buNone/>
              <a:defRPr sz="2100" b="1"/>
            </a:lvl6pPr>
            <a:lvl7pPr marL="3673968" indent="0">
              <a:buNone/>
              <a:defRPr sz="2100" b="1"/>
            </a:lvl7pPr>
            <a:lvl8pPr marL="4286296" indent="0">
              <a:buNone/>
              <a:defRPr sz="2100" b="1"/>
            </a:lvl8pPr>
            <a:lvl9pPr marL="4898624" indent="0">
              <a:buNone/>
              <a:defRPr sz="21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2447238"/>
            <a:ext cx="6060282" cy="444611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967538" y="1727358"/>
            <a:ext cx="6062663" cy="719880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12328" indent="0">
              <a:buNone/>
              <a:defRPr sz="2700" b="1"/>
            </a:lvl2pPr>
            <a:lvl3pPr marL="1224656" indent="0">
              <a:buNone/>
              <a:defRPr sz="2400" b="1"/>
            </a:lvl3pPr>
            <a:lvl4pPr marL="1836984" indent="0">
              <a:buNone/>
              <a:defRPr sz="2100" b="1"/>
            </a:lvl4pPr>
            <a:lvl5pPr marL="2449312" indent="0">
              <a:buNone/>
              <a:defRPr sz="2100" b="1"/>
            </a:lvl5pPr>
            <a:lvl6pPr marL="3061640" indent="0">
              <a:buNone/>
              <a:defRPr sz="2100" b="1"/>
            </a:lvl6pPr>
            <a:lvl7pPr marL="3673968" indent="0">
              <a:buNone/>
              <a:defRPr sz="2100" b="1"/>
            </a:lvl7pPr>
            <a:lvl8pPr marL="4286296" indent="0">
              <a:buNone/>
              <a:defRPr sz="2100" b="1"/>
            </a:lvl8pPr>
            <a:lvl9pPr marL="4898624" indent="0">
              <a:buNone/>
              <a:defRPr sz="21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967538" y="2447238"/>
            <a:ext cx="6062663" cy="444611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6CC5A-AE4B-5042-8495-B5715C059A52}" type="datetimeFigureOut">
              <a:rPr lang="en-US" smtClean="0"/>
              <a:t>1/10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C1EE2-62C9-7045-B0E4-BBBAAA0B13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5880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6CC5A-AE4B-5042-8495-B5715C059A52}" type="datetimeFigureOut">
              <a:rPr lang="en-US" smtClean="0"/>
              <a:t>1/10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C1EE2-62C9-7045-B0E4-BBBAAA0B13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2245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6CC5A-AE4B-5042-8495-B5715C059A52}" type="datetimeFigureOut">
              <a:rPr lang="en-US" smtClean="0"/>
              <a:t>1/10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C1EE2-62C9-7045-B0E4-BBBAAA0B13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8978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1" y="307245"/>
            <a:ext cx="4512470" cy="1307575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62575" y="307245"/>
            <a:ext cx="7667625" cy="6586107"/>
          </a:xfrm>
        </p:spPr>
        <p:txBody>
          <a:bodyPr/>
          <a:lstStyle>
            <a:lvl1pPr>
              <a:defRPr sz="4300"/>
            </a:lvl1pPr>
            <a:lvl2pPr>
              <a:defRPr sz="38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1" y="1614820"/>
            <a:ext cx="4512470" cy="5278532"/>
          </a:xfrm>
        </p:spPr>
        <p:txBody>
          <a:bodyPr/>
          <a:lstStyle>
            <a:lvl1pPr marL="0" indent="0">
              <a:buNone/>
              <a:defRPr sz="1900"/>
            </a:lvl1pPr>
            <a:lvl2pPr marL="612328" indent="0">
              <a:buNone/>
              <a:defRPr sz="1600"/>
            </a:lvl2pPr>
            <a:lvl3pPr marL="1224656" indent="0">
              <a:buNone/>
              <a:defRPr sz="1300"/>
            </a:lvl3pPr>
            <a:lvl4pPr marL="1836984" indent="0">
              <a:buNone/>
              <a:defRPr sz="1200"/>
            </a:lvl4pPr>
            <a:lvl5pPr marL="2449312" indent="0">
              <a:buNone/>
              <a:defRPr sz="1200"/>
            </a:lvl5pPr>
            <a:lvl6pPr marL="3061640" indent="0">
              <a:buNone/>
              <a:defRPr sz="1200"/>
            </a:lvl6pPr>
            <a:lvl7pPr marL="3673968" indent="0">
              <a:buNone/>
              <a:defRPr sz="1200"/>
            </a:lvl7pPr>
            <a:lvl8pPr marL="4286296" indent="0">
              <a:buNone/>
              <a:defRPr sz="1200"/>
            </a:lvl8pPr>
            <a:lvl9pPr marL="4898624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6CC5A-AE4B-5042-8495-B5715C059A52}" type="datetimeFigureOut">
              <a:rPr lang="en-US" smtClean="0"/>
              <a:t>1/10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C1EE2-62C9-7045-B0E4-BBBAAA0B13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9099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8432" y="5401787"/>
            <a:ext cx="8229600" cy="63771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88432" y="689514"/>
            <a:ext cx="8229600" cy="4630103"/>
          </a:xfrm>
        </p:spPr>
        <p:txBody>
          <a:bodyPr/>
          <a:lstStyle>
            <a:lvl1pPr marL="0" indent="0">
              <a:buNone/>
              <a:defRPr sz="4300"/>
            </a:lvl1pPr>
            <a:lvl2pPr marL="612328" indent="0">
              <a:buNone/>
              <a:defRPr sz="3800"/>
            </a:lvl2pPr>
            <a:lvl3pPr marL="1224656" indent="0">
              <a:buNone/>
              <a:defRPr sz="3200"/>
            </a:lvl3pPr>
            <a:lvl4pPr marL="1836984" indent="0">
              <a:buNone/>
              <a:defRPr sz="2700"/>
            </a:lvl4pPr>
            <a:lvl5pPr marL="2449312" indent="0">
              <a:buNone/>
              <a:defRPr sz="2700"/>
            </a:lvl5pPr>
            <a:lvl6pPr marL="3061640" indent="0">
              <a:buNone/>
              <a:defRPr sz="2700"/>
            </a:lvl6pPr>
            <a:lvl7pPr marL="3673968" indent="0">
              <a:buNone/>
              <a:defRPr sz="2700"/>
            </a:lvl7pPr>
            <a:lvl8pPr marL="4286296" indent="0">
              <a:buNone/>
              <a:defRPr sz="2700"/>
            </a:lvl8pPr>
            <a:lvl9pPr marL="4898624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88432" y="6039498"/>
            <a:ext cx="8229600" cy="905656"/>
          </a:xfrm>
        </p:spPr>
        <p:txBody>
          <a:bodyPr/>
          <a:lstStyle>
            <a:lvl1pPr marL="0" indent="0">
              <a:buNone/>
              <a:defRPr sz="1900"/>
            </a:lvl1pPr>
            <a:lvl2pPr marL="612328" indent="0">
              <a:buNone/>
              <a:defRPr sz="1600"/>
            </a:lvl2pPr>
            <a:lvl3pPr marL="1224656" indent="0">
              <a:buNone/>
              <a:defRPr sz="1300"/>
            </a:lvl3pPr>
            <a:lvl4pPr marL="1836984" indent="0">
              <a:buNone/>
              <a:defRPr sz="1200"/>
            </a:lvl4pPr>
            <a:lvl5pPr marL="2449312" indent="0">
              <a:buNone/>
              <a:defRPr sz="1200"/>
            </a:lvl5pPr>
            <a:lvl6pPr marL="3061640" indent="0">
              <a:buNone/>
              <a:defRPr sz="1200"/>
            </a:lvl6pPr>
            <a:lvl7pPr marL="3673968" indent="0">
              <a:buNone/>
              <a:defRPr sz="1200"/>
            </a:lvl7pPr>
            <a:lvl8pPr marL="4286296" indent="0">
              <a:buNone/>
              <a:defRPr sz="1200"/>
            </a:lvl8pPr>
            <a:lvl9pPr marL="4898624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6CC5A-AE4B-5042-8495-B5715C059A52}" type="datetimeFigureOut">
              <a:rPr lang="en-US" smtClean="0"/>
              <a:t>1/10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C1EE2-62C9-7045-B0E4-BBBAAA0B13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771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image" Target="../media/image7.png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6.png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29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309031"/>
            <a:ext cx="12344400" cy="1286140"/>
          </a:xfrm>
          <a:prstGeom prst="rect">
            <a:avLst/>
          </a:prstGeom>
        </p:spPr>
        <p:txBody>
          <a:bodyPr vert="horz" lIns="122466" tIns="61233" rIns="122466" bIns="61233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800596"/>
            <a:ext cx="12344400" cy="5092756"/>
          </a:xfrm>
          <a:prstGeom prst="rect">
            <a:avLst/>
          </a:prstGeom>
        </p:spPr>
        <p:txBody>
          <a:bodyPr vert="horz" lIns="122466" tIns="61233" rIns="122466" bIns="61233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5800" y="7152366"/>
            <a:ext cx="3200400" cy="410850"/>
          </a:xfrm>
          <a:prstGeom prst="rect">
            <a:avLst/>
          </a:prstGeom>
        </p:spPr>
        <p:txBody>
          <a:bodyPr vert="horz" lIns="122466" tIns="61233" rIns="122466" bIns="61233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66CC5A-AE4B-5042-8495-B5715C059A52}" type="datetimeFigureOut">
              <a:rPr lang="en-US" smtClean="0"/>
              <a:t>1/1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86300" y="7152366"/>
            <a:ext cx="4343400" cy="410850"/>
          </a:xfrm>
          <a:prstGeom prst="rect">
            <a:avLst/>
          </a:prstGeom>
        </p:spPr>
        <p:txBody>
          <a:bodyPr vert="horz" lIns="122466" tIns="61233" rIns="122466" bIns="61233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29800" y="7152366"/>
            <a:ext cx="3200400" cy="410850"/>
          </a:xfrm>
          <a:prstGeom prst="rect">
            <a:avLst/>
          </a:prstGeom>
        </p:spPr>
        <p:txBody>
          <a:bodyPr vert="horz" lIns="122466" tIns="61233" rIns="122466" bIns="61233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CC1EE2-62C9-7045-B0E4-BBBAAA0B13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767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  <p:sldLayoutId id="2147483663" r:id="rId13"/>
    <p:sldLayoutId id="2147483665" r:id="rId14"/>
    <p:sldLayoutId id="2147483670" r:id="rId15"/>
    <p:sldLayoutId id="2147483737" r:id="rId16"/>
    <p:sldLayoutId id="2147483738" r:id="rId17"/>
    <p:sldLayoutId id="2147483740" r:id="rId18"/>
    <p:sldLayoutId id="2147483745" r:id="rId19"/>
  </p:sldLayoutIdLst>
  <p:txStyles>
    <p:titleStyle>
      <a:lvl1pPr algn="ctr" defTabSz="612328" rtl="0" eaLnBrk="1" latinLnBrk="0" hangingPunct="1">
        <a:spcBef>
          <a:spcPct val="0"/>
        </a:spcBef>
        <a:buNone/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9246" indent="-459246" algn="l" defTabSz="612328" rtl="0" eaLnBrk="1" latinLnBrk="0" hangingPunct="1">
        <a:spcBef>
          <a:spcPct val="20000"/>
        </a:spcBef>
        <a:buFont typeface="Arial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5033" indent="-382705" algn="l" defTabSz="612328" rtl="0" eaLnBrk="1" latinLnBrk="0" hangingPunct="1">
        <a:spcBef>
          <a:spcPct val="20000"/>
        </a:spcBef>
        <a:buFont typeface="Arial"/>
        <a:buChar char="–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530820" indent="-306164" algn="l" defTabSz="612328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43148" indent="-306164" algn="l" defTabSz="612328" rtl="0" eaLnBrk="1" latinLnBrk="0" hangingPunct="1">
        <a:spcBef>
          <a:spcPct val="20000"/>
        </a:spcBef>
        <a:buFont typeface="Arial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55476" indent="-306164" algn="l" defTabSz="612328" rtl="0" eaLnBrk="1" latinLnBrk="0" hangingPunct="1">
        <a:spcBef>
          <a:spcPct val="20000"/>
        </a:spcBef>
        <a:buFont typeface="Arial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67804" indent="-306164" algn="l" defTabSz="612328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80132" indent="-306164" algn="l" defTabSz="612328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92460" indent="-306164" algn="l" defTabSz="612328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204788" indent="-306164" algn="l" defTabSz="612328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123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12328" algn="l" defTabSz="6123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24656" algn="l" defTabSz="6123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36984" algn="l" defTabSz="6123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49312" algn="l" defTabSz="6123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61640" algn="l" defTabSz="6123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73968" algn="l" defTabSz="6123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86296" algn="l" defTabSz="6123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98624" algn="l" defTabSz="6123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2383" y="1787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3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383" y="1787"/>
                        <a:ext cx="2381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Shapes 2_Normal page shapes.png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09621"/>
            <a:ext cx="13716000" cy="170721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64370" y="503738"/>
            <a:ext cx="12368213" cy="11419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4371" y="1808084"/>
            <a:ext cx="12370593" cy="52090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75201" y="7196591"/>
            <a:ext cx="3598962" cy="4108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13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defTabSz="514441"/>
            <a:fld id="{83BA5AED-EABC-2C4F-A4BB-CE06EB56EE0D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 defTabSz="514441"/>
              <a:t>1/10/2018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29800" y="7196591"/>
            <a:ext cx="3205164" cy="4108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13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514441"/>
            <a:fld id="{CC860DBA-B183-8C49-A4EE-4AF1B84E3C0B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defTabSz="514441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0" name="Picture 9" descr="Shapes4_corebrandmark.png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200" y="7327958"/>
            <a:ext cx="1110996" cy="21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102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</p:sldLayoutIdLst>
  <p:timing>
    <p:tnLst>
      <p:par>
        <p:cTn id="1" dur="indefinite" restart="never" nodeType="tmRoot"/>
      </p:par>
    </p:tnLst>
  </p:timing>
  <p:txStyles>
    <p:titleStyle>
      <a:lvl1pPr algn="l" defTabSz="514441" rtl="0" eaLnBrk="1" latinLnBrk="0" hangingPunct="1">
        <a:spcBef>
          <a:spcPct val="0"/>
        </a:spcBef>
        <a:buNone/>
        <a:defRPr sz="3151" b="1" kern="1200">
          <a:solidFill>
            <a:srgbClr val="E2001A"/>
          </a:solidFill>
          <a:latin typeface="Arial"/>
          <a:ea typeface="+mj-ea"/>
          <a:cs typeface="Arial"/>
        </a:defRPr>
      </a:lvl1pPr>
    </p:titleStyle>
    <p:bodyStyle>
      <a:lvl1pPr marL="385831" indent="-385831" algn="l" defTabSz="514441" rtl="0" eaLnBrk="1" latinLnBrk="0" hangingPunct="1">
        <a:spcBef>
          <a:spcPct val="20000"/>
        </a:spcBef>
        <a:buClr>
          <a:srgbClr val="E2001A"/>
        </a:buClr>
        <a:buFont typeface="Arial"/>
        <a:buChar char="•"/>
        <a:defRPr sz="2700" kern="1200">
          <a:solidFill>
            <a:schemeClr val="tx1"/>
          </a:solidFill>
          <a:latin typeface="Arial"/>
          <a:ea typeface="+mn-ea"/>
          <a:cs typeface="Arial"/>
        </a:defRPr>
      </a:lvl1pPr>
      <a:lvl2pPr marL="835967" indent="-321526" algn="l" defTabSz="514441" rtl="0" eaLnBrk="1" latinLnBrk="0" hangingPunct="1">
        <a:spcBef>
          <a:spcPct val="20000"/>
        </a:spcBef>
        <a:buClr>
          <a:srgbClr val="E2001A"/>
        </a:buClr>
        <a:buFont typeface="Arial"/>
        <a:buChar char="–"/>
        <a:defRPr sz="2250" kern="1200">
          <a:solidFill>
            <a:schemeClr val="tx1"/>
          </a:solidFill>
          <a:latin typeface="Arial"/>
          <a:ea typeface="+mn-ea"/>
          <a:cs typeface="Arial"/>
        </a:defRPr>
      </a:lvl2pPr>
      <a:lvl3pPr marL="1286104" indent="-257221" algn="l" defTabSz="514441" rtl="0" eaLnBrk="1" latinLnBrk="0" hangingPunct="1">
        <a:spcBef>
          <a:spcPct val="20000"/>
        </a:spcBef>
        <a:buClr>
          <a:srgbClr val="E2001A"/>
        </a:buClr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800545" indent="-257221" algn="l" defTabSz="514441" rtl="0" eaLnBrk="1" latinLnBrk="0" hangingPunct="1">
        <a:spcBef>
          <a:spcPct val="20000"/>
        </a:spcBef>
        <a:buClr>
          <a:srgbClr val="E2001A"/>
        </a:buClr>
        <a:buFont typeface="Arial"/>
        <a:buChar char="–"/>
        <a:defRPr sz="1350" kern="1200">
          <a:solidFill>
            <a:schemeClr val="tx1"/>
          </a:solidFill>
          <a:latin typeface="Arial"/>
          <a:ea typeface="+mn-ea"/>
          <a:cs typeface="Arial"/>
        </a:defRPr>
      </a:lvl4pPr>
      <a:lvl5pPr marL="2314986" indent="-257221" algn="l" defTabSz="514441" rtl="0" eaLnBrk="1" latinLnBrk="0" hangingPunct="1">
        <a:spcBef>
          <a:spcPct val="20000"/>
        </a:spcBef>
        <a:buClr>
          <a:srgbClr val="E2001A"/>
        </a:buClr>
        <a:buFont typeface="Arial"/>
        <a:buChar char="»"/>
        <a:defRPr sz="1350" kern="1200">
          <a:solidFill>
            <a:schemeClr val="tx1"/>
          </a:solidFill>
          <a:latin typeface="Arial"/>
          <a:ea typeface="+mn-ea"/>
          <a:cs typeface="Arial"/>
        </a:defRPr>
      </a:lvl5pPr>
      <a:lvl6pPr marL="2829428" indent="-257221" algn="l" defTabSz="514441" rtl="0" eaLnBrk="1" latinLnBrk="0" hangingPunct="1">
        <a:spcBef>
          <a:spcPct val="20000"/>
        </a:spcBef>
        <a:buFont typeface="Arial"/>
        <a:buChar char="•"/>
        <a:defRPr sz="2250" kern="1200">
          <a:solidFill>
            <a:schemeClr val="tx1"/>
          </a:solidFill>
          <a:latin typeface="+mn-lt"/>
          <a:ea typeface="+mn-ea"/>
          <a:cs typeface="+mn-cs"/>
        </a:defRPr>
      </a:lvl6pPr>
      <a:lvl7pPr marL="3343869" indent="-257221" algn="l" defTabSz="514441" rtl="0" eaLnBrk="1" latinLnBrk="0" hangingPunct="1">
        <a:spcBef>
          <a:spcPct val="20000"/>
        </a:spcBef>
        <a:buFont typeface="Arial"/>
        <a:buChar char="•"/>
        <a:defRPr sz="2250" kern="1200">
          <a:solidFill>
            <a:schemeClr val="tx1"/>
          </a:solidFill>
          <a:latin typeface="+mn-lt"/>
          <a:ea typeface="+mn-ea"/>
          <a:cs typeface="+mn-cs"/>
        </a:defRPr>
      </a:lvl7pPr>
      <a:lvl8pPr marL="3858311" indent="-257221" algn="l" defTabSz="514441" rtl="0" eaLnBrk="1" latinLnBrk="0" hangingPunct="1">
        <a:spcBef>
          <a:spcPct val="20000"/>
        </a:spcBef>
        <a:buFont typeface="Arial"/>
        <a:buChar char="•"/>
        <a:defRPr sz="2250" kern="1200">
          <a:solidFill>
            <a:schemeClr val="tx1"/>
          </a:solidFill>
          <a:latin typeface="+mn-lt"/>
          <a:ea typeface="+mn-ea"/>
          <a:cs typeface="+mn-cs"/>
        </a:defRPr>
      </a:lvl8pPr>
      <a:lvl9pPr marL="4372752" indent="-257221" algn="l" defTabSz="514441" rtl="0" eaLnBrk="1" latinLnBrk="0" hangingPunct="1">
        <a:spcBef>
          <a:spcPct val="20000"/>
        </a:spcBef>
        <a:buFont typeface="Arial"/>
        <a:buChar char="•"/>
        <a:defRPr sz="22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44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441" algn="l" defTabSz="51444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883" algn="l" defTabSz="51444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324" algn="l" defTabSz="51444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766" algn="l" defTabSz="51444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2207" algn="l" defTabSz="51444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649" algn="l" defTabSz="51444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1090" algn="l" defTabSz="51444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5532" algn="l" defTabSz="51444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diagramLayout" Target="../diagrams/layout3.xml"/><Relationship Id="rId18" Type="http://schemas.openxmlformats.org/officeDocument/2006/relationships/diagramLayout" Target="../diagrams/layout4.xml"/><Relationship Id="rId3" Type="http://schemas.openxmlformats.org/officeDocument/2006/relationships/diagramLayout" Target="../diagrams/layout1.xml"/><Relationship Id="rId21" Type="http://schemas.microsoft.com/office/2007/relationships/diagramDrawing" Target="../diagrams/drawing4.xml"/><Relationship Id="rId7" Type="http://schemas.openxmlformats.org/officeDocument/2006/relationships/diagramData" Target="../diagrams/data2.xml"/><Relationship Id="rId12" Type="http://schemas.openxmlformats.org/officeDocument/2006/relationships/diagramData" Target="../diagrams/data3.xml"/><Relationship Id="rId17" Type="http://schemas.openxmlformats.org/officeDocument/2006/relationships/diagramData" Target="../diagrams/data4.xml"/><Relationship Id="rId2" Type="http://schemas.openxmlformats.org/officeDocument/2006/relationships/diagramData" Target="../diagrams/data1.xml"/><Relationship Id="rId16" Type="http://schemas.microsoft.com/office/2007/relationships/diagramDrawing" Target="../diagrams/drawing3.xml"/><Relationship Id="rId20" Type="http://schemas.openxmlformats.org/officeDocument/2006/relationships/diagramColors" Target="../diagrams/colors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5" Type="http://schemas.openxmlformats.org/officeDocument/2006/relationships/diagramColors" Target="../diagrams/colors3.xml"/><Relationship Id="rId10" Type="http://schemas.openxmlformats.org/officeDocument/2006/relationships/diagramColors" Target="../diagrams/colors2.xml"/><Relationship Id="rId19" Type="http://schemas.openxmlformats.org/officeDocument/2006/relationships/diagramQuickStyle" Target="../diagrams/quickStyle4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Relationship Id="rId14" Type="http://schemas.openxmlformats.org/officeDocument/2006/relationships/diagramQuickStyle" Target="../diagrams/quickStyle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13" Type="http://schemas.openxmlformats.org/officeDocument/2006/relationships/diagramLayout" Target="../diagrams/layout7.xml"/><Relationship Id="rId18" Type="http://schemas.openxmlformats.org/officeDocument/2006/relationships/diagramLayout" Target="../diagrams/layout8.xml"/><Relationship Id="rId3" Type="http://schemas.openxmlformats.org/officeDocument/2006/relationships/diagramLayout" Target="../diagrams/layout5.xml"/><Relationship Id="rId21" Type="http://schemas.microsoft.com/office/2007/relationships/diagramDrawing" Target="../diagrams/drawing8.xml"/><Relationship Id="rId7" Type="http://schemas.openxmlformats.org/officeDocument/2006/relationships/diagramData" Target="../diagrams/data6.xml"/><Relationship Id="rId12" Type="http://schemas.openxmlformats.org/officeDocument/2006/relationships/diagramData" Target="../diagrams/data7.xml"/><Relationship Id="rId17" Type="http://schemas.openxmlformats.org/officeDocument/2006/relationships/diagramData" Target="../diagrams/data8.xml"/><Relationship Id="rId2" Type="http://schemas.openxmlformats.org/officeDocument/2006/relationships/diagramData" Target="../diagrams/data5.xml"/><Relationship Id="rId16" Type="http://schemas.microsoft.com/office/2007/relationships/diagramDrawing" Target="../diagrams/drawing7.xml"/><Relationship Id="rId20" Type="http://schemas.openxmlformats.org/officeDocument/2006/relationships/diagramColors" Target="../diagrams/colors8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5" Type="http://schemas.openxmlformats.org/officeDocument/2006/relationships/diagramColors" Target="../diagrams/colors7.xml"/><Relationship Id="rId10" Type="http://schemas.openxmlformats.org/officeDocument/2006/relationships/diagramColors" Target="../diagrams/colors6.xml"/><Relationship Id="rId19" Type="http://schemas.openxmlformats.org/officeDocument/2006/relationships/diagramQuickStyle" Target="../diagrams/quickStyle8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Relationship Id="rId14" Type="http://schemas.openxmlformats.org/officeDocument/2006/relationships/diagramQuickStyle" Target="../diagrams/quickStyle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15-0647 PPT templates widescreen7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707541" cy="77168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FF0000"/>
                </a:solidFill>
              </a:rPr>
              <a:t>International Pathway Partnership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NTO Illinois State University</a:t>
            </a:r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105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7882" y="736452"/>
            <a:ext cx="8245401" cy="431298"/>
          </a:xfrm>
          <a:prstGeom prst="rect">
            <a:avLst/>
          </a:prstGeom>
        </p:spPr>
      </p:pic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Joint Venture</a:t>
            </a:r>
          </a:p>
          <a:p>
            <a:pPr lvl="1"/>
            <a:r>
              <a:rPr lang="en-US" dirty="0" smtClean="0"/>
              <a:t>Academic English instruction using ISU faculty</a:t>
            </a:r>
          </a:p>
          <a:p>
            <a:pPr lvl="1"/>
            <a:r>
              <a:rPr lang="en-US" dirty="0" smtClean="0"/>
              <a:t>Pathway Programs</a:t>
            </a:r>
          </a:p>
          <a:p>
            <a:pPr lvl="1"/>
            <a:r>
              <a:rPr lang="en-US" dirty="0" smtClean="0"/>
              <a:t>Preparation for regular admission to degree programs</a:t>
            </a:r>
          </a:p>
          <a:p>
            <a:pPr lvl="1"/>
            <a:r>
              <a:rPr lang="en-US" dirty="0" smtClean="0"/>
              <a:t>Strong academic student outcomes</a:t>
            </a:r>
          </a:p>
          <a:p>
            <a:pPr lvl="1"/>
            <a:r>
              <a:rPr lang="en-US" dirty="0" smtClean="0"/>
              <a:t>Student support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3272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58252" y="35718"/>
            <a:ext cx="15232503" cy="7645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871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/>
          <p:nvPr>
            <p:extLst/>
          </p:nvPr>
        </p:nvGraphicFramePr>
        <p:xfrm>
          <a:off x="719571" y="439978"/>
          <a:ext cx="11312920" cy="25830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43984141"/>
              </p:ext>
            </p:extLst>
          </p:nvPr>
        </p:nvGraphicFramePr>
        <p:xfrm>
          <a:off x="719571" y="2068579"/>
          <a:ext cx="11333017" cy="28942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4109835373"/>
              </p:ext>
            </p:extLst>
          </p:nvPr>
        </p:nvGraphicFramePr>
        <p:xfrm>
          <a:off x="719571" y="3666007"/>
          <a:ext cx="11333017" cy="28942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5" name="Diagram 4"/>
          <p:cNvGraphicFramePr/>
          <p:nvPr>
            <p:extLst/>
          </p:nvPr>
        </p:nvGraphicFramePr>
        <p:xfrm>
          <a:off x="710046" y="5175112"/>
          <a:ext cx="11333017" cy="28942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710046" y="161518"/>
            <a:ext cx="122916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 smtClean="0">
                <a:solidFill>
                  <a:srgbClr val="FF0000"/>
                </a:solidFill>
              </a:rPr>
              <a:t>Undergraduate </a:t>
            </a:r>
            <a:r>
              <a:rPr lang="en-US" sz="4800" b="1" dirty="0">
                <a:solidFill>
                  <a:srgbClr val="FF0000"/>
                </a:solidFill>
              </a:rPr>
              <a:t>Pathways</a:t>
            </a:r>
          </a:p>
        </p:txBody>
      </p:sp>
    </p:spTree>
    <p:extLst>
      <p:ext uri="{BB962C8B-B14F-4D97-AF65-F5344CB8AC3E}">
        <p14:creationId xmlns:p14="http://schemas.microsoft.com/office/powerpoint/2010/main" val="526976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 smtClean="0">
                <a:solidFill>
                  <a:srgbClr val="FF0000"/>
                </a:solidFill>
              </a:rPr>
              <a:t>Undergraduate Pathways</a:t>
            </a:r>
            <a:endParaRPr lang="en-US" sz="4800" b="1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/>
              <a:t>In all majors except for Nursing.</a:t>
            </a:r>
          </a:p>
          <a:p>
            <a:r>
              <a:rPr lang="en-US" dirty="0" smtClean="0"/>
              <a:t>Majors are “bundled” in five areas each with 1, 2, or 3 semester pathways:</a:t>
            </a:r>
          </a:p>
          <a:p>
            <a:pPr lvl="1"/>
            <a:r>
              <a:rPr lang="en-US" dirty="0" smtClean="0"/>
              <a:t>Business</a:t>
            </a:r>
          </a:p>
          <a:p>
            <a:pPr lvl="1"/>
            <a:r>
              <a:rPr lang="en-US" dirty="0" smtClean="0"/>
              <a:t>Science, Applied Sciences &amp; Technology</a:t>
            </a:r>
          </a:p>
          <a:p>
            <a:pPr lvl="1"/>
            <a:r>
              <a:rPr lang="en-US" dirty="0" smtClean="0"/>
              <a:t>Computer Science</a:t>
            </a:r>
          </a:p>
          <a:p>
            <a:pPr lvl="1"/>
            <a:r>
              <a:rPr lang="en-US" dirty="0" smtClean="0"/>
              <a:t>Computer Science: Information Science</a:t>
            </a:r>
          </a:p>
          <a:p>
            <a:pPr lvl="1"/>
            <a:r>
              <a:rPr lang="en-US" dirty="0" smtClean="0"/>
              <a:t>Liberal and Fine Ar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0736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 smtClean="0">
                <a:solidFill>
                  <a:srgbClr val="FF0000"/>
                </a:solidFill>
              </a:rPr>
              <a:t>How were the pathways developed?</a:t>
            </a:r>
            <a:endParaRPr lang="en-US" sz="4800" b="1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tudents are placed by level of English proficiency</a:t>
            </a:r>
          </a:p>
          <a:p>
            <a:r>
              <a:rPr lang="en-US" dirty="0" smtClean="0"/>
              <a:t>Students are placed by intended major</a:t>
            </a:r>
          </a:p>
          <a:p>
            <a:r>
              <a:rPr lang="en-US" dirty="0" smtClean="0"/>
              <a:t>Pathway groups were built by common first-year requirement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8368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603504" y="977812"/>
            <a:ext cx="502920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rgbClr val="FF0000"/>
                </a:solidFill>
              </a:rPr>
              <a:t>For example… </a:t>
            </a:r>
            <a:endParaRPr lang="en-US" sz="4800" b="1" dirty="0" smtClean="0">
              <a:solidFill>
                <a:srgbClr val="FF0000"/>
              </a:solidFill>
            </a:endParaRPr>
          </a:p>
          <a:p>
            <a:r>
              <a:rPr lang="en-US" sz="4000" dirty="0"/>
              <a:t/>
            </a:r>
            <a:br>
              <a:rPr lang="en-US" sz="4000" dirty="0"/>
            </a:br>
            <a:r>
              <a:rPr lang="en-US" sz="4000" dirty="0"/>
              <a:t>Computer Science Information Systems</a:t>
            </a:r>
            <a:r>
              <a:rPr lang="en-US" sz="4000" dirty="0" smtClean="0"/>
              <a:t>: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711696" y="977812"/>
            <a:ext cx="6473952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 smtClean="0"/>
              <a:t>Cybersecur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 smtClean="0"/>
              <a:t>Information Systems-Integration of Enterprise Syste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 smtClean="0"/>
              <a:t>Information Systems-Systems Development/ Analy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 smtClean="0"/>
              <a:t>Information Systems-Web Application Develop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 smtClean="0"/>
              <a:t>Network and Telecommunications Management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4210837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603504" y="493776"/>
            <a:ext cx="5029200" cy="655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FF0000"/>
                </a:solidFill>
              </a:rPr>
              <a:t>For example… </a:t>
            </a:r>
          </a:p>
          <a:p>
            <a:r>
              <a:rPr lang="en-US" sz="1200" dirty="0"/>
              <a:t/>
            </a:r>
            <a:br>
              <a:rPr lang="en-US" sz="1200" dirty="0"/>
            </a:br>
            <a:r>
              <a:rPr lang="en-US" sz="4000" dirty="0"/>
              <a:t>Computer Science Information Systems</a:t>
            </a:r>
            <a:r>
              <a:rPr lang="en-US" sz="4000" dirty="0" smtClean="0"/>
              <a:t>:</a:t>
            </a:r>
          </a:p>
          <a:p>
            <a:r>
              <a:rPr lang="en-US" sz="2800" dirty="0" smtClean="0"/>
              <a:t>Two semester Pathway</a:t>
            </a:r>
          </a:p>
          <a:p>
            <a:endParaRPr lang="en-US" sz="28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No change to degree requiremen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No change to major requiremen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English courses (like advanced foreign language courses) may count toward the 120 total hours for the B.S. degree.</a:t>
            </a:r>
            <a:endParaRPr lang="en-US" sz="28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88352" y="585819"/>
            <a:ext cx="5267706" cy="6475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215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603504" y="636941"/>
            <a:ext cx="5029200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FF0000"/>
                </a:solidFill>
              </a:rPr>
              <a:t>For example… </a:t>
            </a:r>
          </a:p>
          <a:p>
            <a:r>
              <a:rPr lang="en-US" sz="4000" dirty="0"/>
              <a:t/>
            </a:r>
            <a:br>
              <a:rPr lang="en-US" sz="4000" dirty="0"/>
            </a:br>
            <a:r>
              <a:rPr lang="en-US" sz="4000" dirty="0" smtClean="0"/>
              <a:t>Liberal and Fine Arts:</a:t>
            </a:r>
          </a:p>
          <a:p>
            <a:r>
              <a:rPr lang="en-US" sz="2800" dirty="0" smtClean="0"/>
              <a:t>One semester pathway</a:t>
            </a:r>
          </a:p>
          <a:p>
            <a:endParaRPr lang="en-US" sz="2800" dirty="0" smtClean="0"/>
          </a:p>
          <a:p>
            <a:r>
              <a:rPr lang="en-US" sz="2800" dirty="0" smtClean="0"/>
              <a:t>Most non-STEM majors in CAS and CFA.  Some majors in CAST that don’t require specific math and science courses.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1297" y="844208"/>
            <a:ext cx="6927914" cy="4109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456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284728987"/>
              </p:ext>
            </p:extLst>
          </p:nvPr>
        </p:nvGraphicFramePr>
        <p:xfrm>
          <a:off x="719571" y="439978"/>
          <a:ext cx="11312920" cy="25830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 2"/>
          <p:cNvGraphicFramePr/>
          <p:nvPr>
            <p:extLst/>
          </p:nvPr>
        </p:nvGraphicFramePr>
        <p:xfrm>
          <a:off x="719571" y="2068579"/>
          <a:ext cx="11333017" cy="28942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4" name="Diagram 3"/>
          <p:cNvGraphicFramePr/>
          <p:nvPr>
            <p:extLst/>
          </p:nvPr>
        </p:nvGraphicFramePr>
        <p:xfrm>
          <a:off x="719571" y="3666007"/>
          <a:ext cx="11333017" cy="28942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5" name="Diagram 4"/>
          <p:cNvGraphicFramePr/>
          <p:nvPr>
            <p:extLst/>
          </p:nvPr>
        </p:nvGraphicFramePr>
        <p:xfrm>
          <a:off x="710046" y="5175112"/>
          <a:ext cx="11333017" cy="28942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71500" y="143975"/>
            <a:ext cx="124499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rgbClr val="FF0000"/>
                </a:solidFill>
              </a:rPr>
              <a:t>Graduate Pathway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2240491" y="3807408"/>
            <a:ext cx="1371600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75" dirty="0" smtClean="0"/>
              <a:t>GPA/TOEFL minimums exclude MBA, ACC, IT</a:t>
            </a:r>
            <a:endParaRPr lang="en-US" sz="1575" dirty="0"/>
          </a:p>
        </p:txBody>
      </p:sp>
    </p:spTree>
    <p:extLst>
      <p:ext uri="{BB962C8B-B14F-4D97-AF65-F5344CB8AC3E}">
        <p14:creationId xmlns:p14="http://schemas.microsoft.com/office/powerpoint/2010/main" val="726764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15-0647 PPT templates widescreen7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9" y="0"/>
            <a:ext cx="13707541" cy="77168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 smtClean="0">
                <a:solidFill>
                  <a:srgbClr val="FF0000"/>
                </a:solidFill>
              </a:rPr>
              <a:t>Graduate Academic </a:t>
            </a:r>
            <a:r>
              <a:rPr lang="en-US" sz="4800" b="1" dirty="0">
                <a:solidFill>
                  <a:srgbClr val="FF0000"/>
                </a:solidFill>
              </a:rPr>
              <a:t>Pathway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685800" y="1727358"/>
            <a:ext cx="6060282" cy="4446114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Business</a:t>
            </a:r>
          </a:p>
          <a:p>
            <a:pPr lvl="1"/>
            <a:r>
              <a:rPr lang="en-US" dirty="0" smtClean="0"/>
              <a:t>MBA</a:t>
            </a:r>
            <a:endParaRPr lang="en-US" dirty="0"/>
          </a:p>
          <a:p>
            <a:pPr lvl="1"/>
            <a:r>
              <a:rPr lang="en-US" dirty="0"/>
              <a:t>Accounting</a:t>
            </a:r>
          </a:p>
          <a:p>
            <a:pPr lvl="1"/>
            <a:r>
              <a:rPr lang="en-US" dirty="0"/>
              <a:t>Information Systems</a:t>
            </a:r>
          </a:p>
          <a:p>
            <a:r>
              <a:rPr lang="en-US" dirty="0"/>
              <a:t>Fine Arts</a:t>
            </a:r>
          </a:p>
          <a:p>
            <a:pPr lvl="1"/>
            <a:r>
              <a:rPr lang="en-US" dirty="0"/>
              <a:t>Arts Technology</a:t>
            </a:r>
          </a:p>
          <a:p>
            <a:pPr lvl="1"/>
            <a:r>
              <a:rPr lang="en-US" dirty="0"/>
              <a:t>Costume Design</a:t>
            </a:r>
          </a:p>
          <a:p>
            <a:pPr lvl="1"/>
            <a:r>
              <a:rPr lang="en-US" dirty="0"/>
              <a:t>Music Performance</a:t>
            </a:r>
          </a:p>
          <a:p>
            <a:pPr lvl="1"/>
            <a:r>
              <a:rPr lang="en-US" dirty="0"/>
              <a:t>MFA Studio</a:t>
            </a:r>
          </a:p>
          <a:p>
            <a:pPr marL="0" indent="0">
              <a:buNone/>
            </a:pPr>
            <a:endParaRPr lang="en-US" b="1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4"/>
          </p:nvPr>
        </p:nvSpPr>
        <p:spPr>
          <a:xfrm>
            <a:off x="6967537" y="1734826"/>
            <a:ext cx="6062663" cy="4936089"/>
          </a:xfrm>
        </p:spPr>
        <p:txBody>
          <a:bodyPr>
            <a:normAutofit/>
          </a:bodyPr>
          <a:lstStyle/>
          <a:p>
            <a:r>
              <a:rPr lang="en-US" dirty="0" smtClean="0"/>
              <a:t>Arts and Sciences</a:t>
            </a:r>
          </a:p>
          <a:p>
            <a:pPr lvl="1"/>
            <a:r>
              <a:rPr lang="en-US" dirty="0" smtClean="0"/>
              <a:t>Math </a:t>
            </a:r>
            <a:r>
              <a:rPr lang="en-US" sz="1800" dirty="0" smtClean="0"/>
              <a:t>(Stats, general, </a:t>
            </a:r>
            <a:r>
              <a:rPr lang="en-US" sz="1800" dirty="0" err="1" smtClean="0"/>
              <a:t>Biomath</a:t>
            </a:r>
            <a:r>
              <a:rPr lang="en-US" sz="1800" dirty="0" smtClean="0"/>
              <a:t>)</a:t>
            </a:r>
          </a:p>
          <a:p>
            <a:pPr lvl="1"/>
            <a:r>
              <a:rPr lang="en-US" dirty="0" smtClean="0"/>
              <a:t>Economics</a:t>
            </a:r>
            <a:endParaRPr lang="en-US" dirty="0"/>
          </a:p>
          <a:p>
            <a:pPr lvl="1"/>
            <a:r>
              <a:rPr lang="en-US" dirty="0" smtClean="0"/>
              <a:t>Hydrogeology</a:t>
            </a:r>
            <a:endParaRPr lang="en-US" dirty="0"/>
          </a:p>
          <a:p>
            <a:r>
              <a:rPr lang="en-US" dirty="0" smtClean="0"/>
              <a:t>Applied Science &amp; Technology</a:t>
            </a:r>
          </a:p>
          <a:p>
            <a:pPr lvl="1"/>
            <a:r>
              <a:rPr lang="en-US" dirty="0"/>
              <a:t>Technology</a:t>
            </a:r>
          </a:p>
          <a:p>
            <a:pPr lvl="1"/>
            <a:r>
              <a:rPr lang="en-US" dirty="0"/>
              <a:t>Family and Consumer Sciences</a:t>
            </a:r>
          </a:p>
          <a:p>
            <a:pPr lvl="1"/>
            <a:r>
              <a:rPr lang="en-US" dirty="0"/>
              <a:t>Kinesiology &amp;</a:t>
            </a:r>
            <a:r>
              <a:rPr lang="en-US" dirty="0" smtClean="0"/>
              <a:t> Recreation </a:t>
            </a:r>
            <a:r>
              <a:rPr lang="en-US" sz="1800" dirty="0" smtClean="0"/>
              <a:t>(Ex Phys, Biomechanics)</a:t>
            </a:r>
          </a:p>
          <a:p>
            <a:pPr lvl="1"/>
            <a:r>
              <a:rPr lang="en-US" dirty="0" smtClean="0"/>
              <a:t>Information Technolo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435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 smtClean="0">
                <a:solidFill>
                  <a:srgbClr val="FF0000"/>
                </a:solidFill>
              </a:rPr>
              <a:t>Foundation for International </a:t>
            </a:r>
            <a:r>
              <a:rPr lang="en-US" sz="4800" b="1" dirty="0">
                <a:solidFill>
                  <a:srgbClr val="FF0000"/>
                </a:solidFill>
              </a:rPr>
              <a:t>E</a:t>
            </a:r>
            <a:r>
              <a:rPr lang="en-US" sz="4800" b="1" dirty="0" smtClean="0">
                <a:solidFill>
                  <a:srgbClr val="FF0000"/>
                </a:solidFill>
              </a:rPr>
              <a:t>nrollment</a:t>
            </a:r>
            <a:endParaRPr lang="en-US" sz="4800" b="1" dirty="0">
              <a:solidFill>
                <a:srgbClr val="FF0000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E</a:t>
            </a:r>
            <a:r>
              <a:rPr lang="en-US" dirty="0" smtClean="0"/>
              <a:t>nhance </a:t>
            </a:r>
            <a:r>
              <a:rPr lang="en-US" dirty="0"/>
              <a:t>diversity, </a:t>
            </a:r>
            <a:r>
              <a:rPr lang="en-US" dirty="0" smtClean="0"/>
              <a:t>extend global </a:t>
            </a:r>
            <a:r>
              <a:rPr lang="en-US" dirty="0"/>
              <a:t>learning, and </a:t>
            </a:r>
            <a:r>
              <a:rPr lang="en-US" dirty="0" smtClean="0"/>
              <a:t>further develop global </a:t>
            </a:r>
            <a:r>
              <a:rPr lang="en-US" dirty="0"/>
              <a:t>campus </a:t>
            </a:r>
            <a:r>
              <a:rPr lang="en-US" dirty="0" smtClean="0"/>
              <a:t>environment</a:t>
            </a:r>
          </a:p>
          <a:p>
            <a:r>
              <a:rPr lang="en-US" dirty="0"/>
              <a:t>G</a:t>
            </a:r>
            <a:r>
              <a:rPr lang="en-US" dirty="0" smtClean="0"/>
              <a:t>oal </a:t>
            </a:r>
            <a:r>
              <a:rPr lang="en-US" dirty="0"/>
              <a:t>to increase </a:t>
            </a:r>
            <a:r>
              <a:rPr lang="en-US" dirty="0" smtClean="0"/>
              <a:t>international </a:t>
            </a:r>
            <a:r>
              <a:rPr lang="en-US" dirty="0"/>
              <a:t>enrollment to </a:t>
            </a:r>
            <a:r>
              <a:rPr lang="en-US" dirty="0" smtClean="0"/>
              <a:t>10</a:t>
            </a:r>
            <a:r>
              <a:rPr lang="en-US" dirty="0"/>
              <a:t>% of </a:t>
            </a:r>
            <a:r>
              <a:rPr lang="en-US" dirty="0" smtClean="0"/>
              <a:t>total </a:t>
            </a:r>
            <a:r>
              <a:rPr lang="en-US" dirty="0"/>
              <a:t>enrollment within 10 years. </a:t>
            </a:r>
            <a:endParaRPr lang="en-US" dirty="0" smtClean="0"/>
          </a:p>
          <a:p>
            <a:r>
              <a:rPr lang="en-US" dirty="0" smtClean="0"/>
              <a:t>Current international enrollment is 2%.</a:t>
            </a:r>
          </a:p>
          <a:p>
            <a:r>
              <a:rPr lang="en-US" dirty="0" smtClean="0"/>
              <a:t>Adding </a:t>
            </a:r>
            <a:r>
              <a:rPr lang="en-US" dirty="0"/>
              <a:t>international students </a:t>
            </a:r>
            <a:r>
              <a:rPr lang="en-US" dirty="0" smtClean="0"/>
              <a:t>help </a:t>
            </a:r>
            <a:r>
              <a:rPr lang="en-US" dirty="0"/>
              <a:t>address </a:t>
            </a:r>
            <a:r>
              <a:rPr lang="en-US" dirty="0" smtClean="0"/>
              <a:t>decline in high school graduates in Illinois and Midwes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266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dirty="0" smtClean="0">
                <a:solidFill>
                  <a:srgbClr val="FF0000"/>
                </a:solidFill>
              </a:rPr>
              <a:t>Example – 1 &amp; 2 Semester Graduate Pathway</a:t>
            </a:r>
            <a:endParaRPr lang="en-US" sz="4800" dirty="0">
              <a:solidFill>
                <a:srgbClr val="FF0000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0334359"/>
              </p:ext>
            </p:extLst>
          </p:nvPr>
        </p:nvGraphicFramePr>
        <p:xfrm>
          <a:off x="7587761" y="1516040"/>
          <a:ext cx="4835769" cy="56023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58945"/>
                <a:gridCol w="2172956"/>
                <a:gridCol w="803868"/>
              </a:tblGrid>
              <a:tr h="291516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</a:rPr>
                        <a:t>FINE ARTS (Music Performance)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</a:tr>
              <a:tr h="233212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Total Credits Required for Degre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34-3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</a:tr>
              <a:tr h="233212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Total PW Earned Credit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2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</a:tr>
              <a:tr h="233212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Total PW Credits Toward Degre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 smtClean="0">
                          <a:effectLst/>
                        </a:rPr>
                        <a:t>1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</a:tr>
              <a:tr h="2915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</a:tr>
              <a:tr h="272858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</a:rPr>
                        <a:t>Semester 1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</a:tr>
              <a:tr h="23321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</a:rPr>
                        <a:t>ACADEMIC ENGLISH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IDS 40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</a:tr>
              <a:tr h="2332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IDS 40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</a:tr>
              <a:tr h="2277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IDS 40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</a:tr>
              <a:tr h="22777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</a:tr>
              <a:tr h="227770"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 smtClean="0">
                          <a:effectLst/>
                        </a:rPr>
                        <a:t>MAJOR COURS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US 43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</a:tr>
              <a:tr h="2332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US43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</a:tr>
              <a:tr h="24270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MUS 300 level Styles or Genr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21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Total Semester 1 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16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2915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</a:tr>
              <a:tr h="272858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 </a:t>
                      </a:r>
                      <a:r>
                        <a:rPr lang="en-US" sz="1600" b="1" u="none" strike="noStrike" dirty="0">
                          <a:effectLst/>
                        </a:rPr>
                        <a:t>Semester 2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</a:tr>
              <a:tr h="22777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</a:rPr>
                        <a:t>ACADEMIC ENGLISH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IDS 40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</a:tr>
              <a:tr h="2332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IDS 43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</a:tr>
              <a:tr h="2332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</a:tr>
              <a:tr h="227770"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 smtClean="0">
                          <a:effectLst/>
                        </a:rPr>
                        <a:t>MAJOR COURS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US 43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</a:tr>
              <a:tr h="2332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MUS43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</a:tr>
              <a:tr h="23516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MUS 300 level Styles or Genr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21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Total Semester 2 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13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773" marR="10773" marT="10773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9338108"/>
              </p:ext>
            </p:extLst>
          </p:nvPr>
        </p:nvGraphicFramePr>
        <p:xfrm>
          <a:off x="1312496" y="1516040"/>
          <a:ext cx="4569558" cy="33236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56609"/>
                <a:gridCol w="2053334"/>
                <a:gridCol w="759615"/>
              </a:tblGrid>
              <a:tr h="296469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FINE ARTS (Music Performance)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 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</a:tr>
              <a:tr h="237174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>
                          <a:effectLst/>
                        </a:rPr>
                        <a:t>Total Credits Required for Degree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</a:rPr>
                        <a:t>34-36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</a:tr>
              <a:tr h="237174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>
                          <a:effectLst/>
                        </a:rPr>
                        <a:t>Total PW Earned Credit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</a:rPr>
                        <a:t>13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</a:tr>
              <a:tr h="237174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>
                          <a:effectLst/>
                        </a:rPr>
                        <a:t>Total PW Credits Toward Degree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 dirty="0" smtClean="0">
                          <a:effectLst/>
                        </a:rPr>
                        <a:t>7</a:t>
                      </a:r>
                      <a:r>
                        <a:rPr lang="en-US" sz="1300" u="none" strike="noStrike" dirty="0">
                          <a:effectLst/>
                        </a:rPr>
                        <a:t> 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</a:tr>
              <a:tr h="237174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>
                          <a:effectLst/>
                        </a:rPr>
                        <a:t> 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>
                          <a:effectLst/>
                        </a:rPr>
                        <a:t> 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>
                          <a:effectLst/>
                        </a:rPr>
                        <a:t> </a:t>
                      </a:r>
                      <a:endParaRPr lang="en-US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</a:tr>
              <a:tr h="23164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>
                          <a:effectLst/>
                        </a:rPr>
                        <a:t> 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</a:rPr>
                        <a:t>Semester 1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>
                          <a:effectLst/>
                        </a:rPr>
                        <a:t> 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</a:tr>
              <a:tr h="237174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 dirty="0" smtClean="0">
                          <a:effectLst/>
                        </a:rPr>
                        <a:t>ACADEMIC ENGLISH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>
                          <a:effectLst/>
                        </a:rPr>
                        <a:t>IDS 401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</a:rPr>
                        <a:t>3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</a:tr>
              <a:tr h="23717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>
                          <a:effectLst/>
                        </a:rPr>
                        <a:t>IDS 431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</a:rPr>
                        <a:t>3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</a:tr>
              <a:tr h="2316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>
                          <a:effectLst/>
                        </a:rPr>
                        <a:t> 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>
                          <a:effectLst/>
                        </a:rPr>
                        <a:t> 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</a:tr>
              <a:tr h="237174"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 smtClean="0">
                          <a:effectLst/>
                        </a:rPr>
                        <a:t>MAJOR COURSES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>
                          <a:effectLst/>
                        </a:rPr>
                        <a:t>MUS 431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</a:rPr>
                        <a:t>3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</a:tr>
              <a:tr h="23717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>
                          <a:effectLst/>
                        </a:rPr>
                        <a:t>MUS439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>
                    <a:lnB w="127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</a:rPr>
                        <a:t>1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>
                    <a:lnB w="12700" cmpd="sng">
                      <a:noFill/>
                    </a:lnB>
                  </a:tcPr>
                </a:tc>
              </a:tr>
              <a:tr h="4292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</a:rPr>
                        <a:t>MUS 300 level Styles or Genres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 dirty="0">
                          <a:effectLst/>
                        </a:rPr>
                        <a:t>3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37174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>
                          <a:effectLst/>
                        </a:rPr>
                        <a:t> 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>
                          <a:effectLst/>
                        </a:rPr>
                        <a:t> Total Semester 1 </a:t>
                      </a:r>
                      <a:endParaRPr lang="en-US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 dirty="0">
                          <a:effectLst/>
                        </a:rPr>
                        <a:t>13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859" marR="11859" marT="11859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0559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15-0647 PPT templates widescreen7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9" y="0"/>
            <a:ext cx="13707541" cy="7716838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691975"/>
            <a:ext cx="12344400" cy="4854267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9600" dirty="0" smtClean="0">
                <a:solidFill>
                  <a:srgbClr val="FF0000"/>
                </a:solidFill>
              </a:rPr>
              <a:t>Questions</a:t>
            </a:r>
            <a:r>
              <a:rPr lang="en-US" sz="9600" dirty="0">
                <a:solidFill>
                  <a:srgbClr val="FF0000"/>
                </a:solidFill>
              </a:rPr>
              <a:t>?</a:t>
            </a:r>
            <a:endParaRPr lang="en-US" sz="96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088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national Enrollment Trend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34035541"/>
              </p:ext>
            </p:extLst>
          </p:nvPr>
        </p:nvGraphicFramePr>
        <p:xfrm>
          <a:off x="1658564" y="2587560"/>
          <a:ext cx="9567155" cy="344514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66737"/>
                <a:gridCol w="1284052"/>
                <a:gridCol w="1371600"/>
                <a:gridCol w="1342417"/>
                <a:gridCol w="1478605"/>
                <a:gridCol w="1322961"/>
                <a:gridCol w="1400783"/>
              </a:tblGrid>
              <a:tr h="26501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YEAR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012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2013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014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015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016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2017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</a:tr>
              <a:tr h="53002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Total Enrollmen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0,502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19,924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0,615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0,807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1,039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20,784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</a:tr>
              <a:tr h="53002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Total Internatio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82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00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25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76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376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387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</a:tr>
              <a:tr h="53002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International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Undergraduat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49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31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39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17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11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119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</a:tr>
              <a:tr h="53002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International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Graduat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33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69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86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59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65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268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</a:tr>
              <a:tr h="53002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New Internatio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05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04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17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18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40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147</a:t>
                      </a: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</a:tr>
              <a:tr h="53002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Percentage of Total Enrollmen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.9%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.0%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.0%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.8%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.7%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1.9%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55434" marR="55434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03139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national Student by Type</a:t>
            </a:r>
            <a:endParaRPr lang="en-US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/>
          </p:nvPr>
        </p:nvGraphicFramePr>
        <p:xfrm>
          <a:off x="2421731" y="2054622"/>
          <a:ext cx="8872538" cy="48952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695839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Top Countries for International Student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2421731" y="2054622"/>
          <a:ext cx="8872538" cy="48952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98461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p Academic Fields </a:t>
            </a:r>
            <a:r>
              <a:rPr lang="en-US" smtClean="0"/>
              <a:t>for International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2421731" y="2054622"/>
          <a:ext cx="8872538" cy="48952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626377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2447" y="141378"/>
            <a:ext cx="8747928" cy="1141943"/>
          </a:xfrm>
        </p:spPr>
        <p:txBody>
          <a:bodyPr>
            <a:normAutofit/>
          </a:bodyPr>
          <a:lstStyle/>
          <a:p>
            <a:r>
              <a:rPr lang="en-GB" sz="2475" dirty="0"/>
              <a:t>The number of international students is forecast to double by 2025, creating a big opportunity for universities</a:t>
            </a:r>
          </a:p>
        </p:txBody>
      </p:sp>
      <p:grpSp>
        <p:nvGrpSpPr>
          <p:cNvPr id="410" name="Group 409"/>
          <p:cNvGrpSpPr/>
          <p:nvPr/>
        </p:nvGrpSpPr>
        <p:grpSpPr>
          <a:xfrm>
            <a:off x="1055078" y="1894677"/>
            <a:ext cx="9738710" cy="5077622"/>
            <a:chOff x="0" y="2274502"/>
            <a:chExt cx="9144000" cy="4215198"/>
          </a:xfrm>
        </p:grpSpPr>
        <p:pic>
          <p:nvPicPr>
            <p:cNvPr id="411" name="Picture 410" descr="graph global international enrollment v2-01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2274502"/>
              <a:ext cx="9144000" cy="4215198"/>
            </a:xfrm>
            <a:prstGeom prst="rect">
              <a:avLst/>
            </a:prstGeom>
          </p:spPr>
        </p:pic>
        <p:sp>
          <p:nvSpPr>
            <p:cNvPr id="412" name="Rectangle 411"/>
            <p:cNvSpPr/>
            <p:nvPr/>
          </p:nvSpPr>
          <p:spPr>
            <a:xfrm>
              <a:off x="136478" y="2934269"/>
              <a:ext cx="2320119" cy="332012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441"/>
              <a:endParaRPr lang="en-GB" sz="2025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5167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dirty="0" smtClean="0">
                <a:latin typeface="Calibri" panose="020F0502020204030204" pitchFamily="34" charset="0"/>
              </a:rPr>
              <a:t>ISU Far </a:t>
            </a:r>
            <a:r>
              <a:rPr lang="en-US" sz="4800" dirty="0">
                <a:latin typeface="Calibri" panose="020F0502020204030204" pitchFamily="34" charset="0"/>
              </a:rPr>
              <a:t>B</a:t>
            </a:r>
            <a:r>
              <a:rPr lang="en-US" sz="4800" dirty="0" smtClean="0">
                <a:latin typeface="Calibri" panose="020F0502020204030204" pitchFamily="34" charset="0"/>
              </a:rPr>
              <a:t>ehind State and National </a:t>
            </a:r>
            <a:r>
              <a:rPr lang="en-US" sz="4800" dirty="0">
                <a:latin typeface="Calibri" panose="020F0502020204030204" pitchFamily="34" charset="0"/>
              </a:rPr>
              <a:t>R</a:t>
            </a:r>
            <a:r>
              <a:rPr lang="en-US" sz="4800" dirty="0" smtClean="0">
                <a:latin typeface="Calibri" panose="020F0502020204030204" pitchFamily="34" charset="0"/>
              </a:rPr>
              <a:t>ates </a:t>
            </a:r>
            <a:endParaRPr lang="en-US" sz="4800" dirty="0">
              <a:latin typeface="Calibri" panose="020F0502020204030204" pitchFamily="34" charset="0"/>
            </a:endParaRPr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extLst/>
          </p:nvPr>
        </p:nvGraphicFramePr>
        <p:xfrm>
          <a:off x="2913839" y="1972081"/>
          <a:ext cx="7802580" cy="4801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179448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15-0647 PPT templates widescreen7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9" y="0"/>
            <a:ext cx="13707541" cy="77168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800" b="1" dirty="0">
                <a:solidFill>
                  <a:srgbClr val="FF0000"/>
                </a:solidFill>
              </a:rPr>
              <a:t>Joint Venture: </a:t>
            </a:r>
            <a:br>
              <a:rPr lang="en-US" sz="4800" b="1" dirty="0">
                <a:solidFill>
                  <a:srgbClr val="FF0000"/>
                </a:solidFill>
              </a:rPr>
            </a:br>
            <a:r>
              <a:rPr lang="en-US" sz="4800" b="1" dirty="0">
                <a:solidFill>
                  <a:srgbClr val="FF0000"/>
                </a:solidFill>
              </a:rPr>
              <a:t>Partnering with INT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69405"/>
            <a:ext cx="12344400" cy="485426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400" dirty="0"/>
              <a:t>INTO is global leader in international student </a:t>
            </a:r>
            <a:r>
              <a:rPr lang="en-US" sz="3400" dirty="0" smtClean="0"/>
              <a:t>recruitment and pathway programs.</a:t>
            </a:r>
            <a:endParaRPr lang="en-US" sz="3400" dirty="0"/>
          </a:p>
          <a:p>
            <a:r>
              <a:rPr lang="en-US" sz="3400" dirty="0"/>
              <a:t>$66m investment in marketing universities globally</a:t>
            </a:r>
          </a:p>
          <a:p>
            <a:r>
              <a:rPr lang="en-US" sz="3400" dirty="0"/>
              <a:t>Marketing campaign in 19 languages aimed at &gt; 130 countries</a:t>
            </a:r>
          </a:p>
          <a:p>
            <a:r>
              <a:rPr lang="en-US" sz="3400" dirty="0"/>
              <a:t>Extensive partnerships with agents (over 900) and institutions (~700) around the world</a:t>
            </a:r>
          </a:p>
          <a:p>
            <a:r>
              <a:rPr lang="en-US" sz="3400" dirty="0"/>
              <a:t>Data analytics on international recruitment</a:t>
            </a:r>
          </a:p>
          <a:p>
            <a:pPr marL="0" indent="0">
              <a:buNone/>
            </a:pP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350393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rgbClr val="FF0000"/>
                </a:solidFill>
              </a:rPr>
              <a:t>INTO Joint Ventures in U.S</a:t>
            </a:r>
          </a:p>
        </p:txBody>
      </p:sp>
      <p:pic>
        <p:nvPicPr>
          <p:cNvPr id="4" name="Content Placeholder 7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23847" y="1779192"/>
            <a:ext cx="2899814" cy="112085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41150" y="1690122"/>
            <a:ext cx="1316850" cy="131075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1849" y="3342397"/>
            <a:ext cx="2503809" cy="71293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30226" y="3130816"/>
            <a:ext cx="2094701" cy="106124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24570" y="3268262"/>
            <a:ext cx="1361457" cy="114050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02935" y="4410529"/>
            <a:ext cx="1469263" cy="149974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85867" y="4970566"/>
            <a:ext cx="2700762" cy="87180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17584" y="6247110"/>
            <a:ext cx="1639966" cy="124978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70831" y="6325613"/>
            <a:ext cx="2605851" cy="82421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424569" y="1581464"/>
            <a:ext cx="1361458" cy="136145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12"/>
          <a:srcRect l="3857" t="8839" r="55391" b="36821"/>
          <a:stretch/>
        </p:blipFill>
        <p:spPr>
          <a:xfrm>
            <a:off x="5500479" y="4369757"/>
            <a:ext cx="1527605" cy="1778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488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8729" y="199752"/>
            <a:ext cx="9278068" cy="1141943"/>
          </a:xfrm>
        </p:spPr>
        <p:txBody>
          <a:bodyPr>
            <a:normAutofit/>
          </a:bodyPr>
          <a:lstStyle/>
          <a:p>
            <a:r>
              <a:rPr lang="en-US" sz="2475" b="1" dirty="0"/>
              <a:t>An INTO partnership gives universities academic control, but brings capital, global reach &amp; track record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2595979" y="1341695"/>
            <a:ext cx="8425155" cy="5311996"/>
            <a:chOff x="320083" y="1159749"/>
            <a:chExt cx="8255000" cy="5119421"/>
          </a:xfrm>
        </p:grpSpPr>
        <p:pic>
          <p:nvPicPr>
            <p:cNvPr id="3" name="Picture 2" descr="INTO model ISU blank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083" y="1159749"/>
              <a:ext cx="8255000" cy="5119421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581169" y="2022614"/>
              <a:ext cx="2044855" cy="1696845"/>
            </a:xfrm>
            <a:prstGeom prst="rect">
              <a:avLst/>
            </a:prstGeom>
            <a:noFill/>
          </p:spPr>
          <p:txBody>
            <a:bodyPr wrap="square" lIns="0" bIns="0" rtlCol="0">
              <a:spAutoFit/>
            </a:bodyPr>
            <a:lstStyle/>
            <a:p>
              <a:pPr defTabSz="514441"/>
              <a:r>
                <a:rPr lang="en-US" sz="1238" b="1" dirty="0">
                  <a:solidFill>
                    <a:prstClr val="white"/>
                  </a:solidFill>
                  <a:latin typeface="Arial"/>
                  <a:cs typeface="Arial"/>
                </a:rPr>
                <a:t>Inputs</a:t>
              </a:r>
            </a:p>
            <a:p>
              <a:pPr marL="192916" indent="-192916" defTabSz="514441">
                <a:buFont typeface="Arial"/>
                <a:buChar char="•"/>
              </a:pPr>
              <a:r>
                <a:rPr lang="en-US" sz="1238" dirty="0">
                  <a:solidFill>
                    <a:prstClr val="white"/>
                  </a:solidFill>
                  <a:latin typeface="Arial"/>
                  <a:cs typeface="Arial"/>
                </a:rPr>
                <a:t>Start Up capital</a:t>
              </a:r>
            </a:p>
            <a:p>
              <a:pPr marL="192916" indent="-192916" defTabSz="514441">
                <a:buFont typeface="Arial"/>
                <a:buChar char="•"/>
              </a:pPr>
              <a:r>
                <a:rPr lang="en-US" sz="1238" dirty="0">
                  <a:solidFill>
                    <a:prstClr val="white"/>
                  </a:solidFill>
                  <a:latin typeface="Arial"/>
                  <a:cs typeface="Arial"/>
                </a:rPr>
                <a:t>Global reach</a:t>
              </a:r>
            </a:p>
            <a:p>
              <a:pPr marL="192916" indent="-192916" defTabSz="514441">
                <a:buFont typeface="Arial"/>
                <a:buChar char="•"/>
              </a:pPr>
              <a:r>
                <a:rPr lang="en-US" sz="1238" dirty="0">
                  <a:solidFill>
                    <a:prstClr val="white"/>
                  </a:solidFill>
                  <a:latin typeface="Arial"/>
                  <a:cs typeface="Arial"/>
                </a:rPr>
                <a:t>Recruitment and marketing know how</a:t>
              </a:r>
            </a:p>
            <a:p>
              <a:pPr marL="192916" indent="-192916" defTabSz="514441">
                <a:buFont typeface="Arial"/>
                <a:buChar char="•"/>
              </a:pPr>
              <a:r>
                <a:rPr lang="en-US" sz="1238" dirty="0">
                  <a:solidFill>
                    <a:prstClr val="white"/>
                  </a:solidFill>
                  <a:latin typeface="Arial"/>
                  <a:cs typeface="Arial"/>
                </a:rPr>
                <a:t>Application processing</a:t>
              </a:r>
            </a:p>
            <a:p>
              <a:pPr marL="192916" indent="-192916" defTabSz="514441">
                <a:buFont typeface="Arial"/>
                <a:buChar char="•"/>
              </a:pPr>
              <a:r>
                <a:rPr lang="en-US" sz="1238" dirty="0">
                  <a:solidFill>
                    <a:prstClr val="white"/>
                  </a:solidFill>
                  <a:latin typeface="Arial"/>
                  <a:cs typeface="Arial"/>
                </a:rPr>
                <a:t>International student experience</a:t>
              </a:r>
            </a:p>
            <a:p>
              <a:pPr marL="192916" indent="-192916" defTabSz="514441">
                <a:buFont typeface="Arial"/>
                <a:buChar char="•"/>
              </a:pPr>
              <a:endParaRPr lang="en-US" sz="1238" dirty="0">
                <a:solidFill>
                  <a:prstClr val="white"/>
                </a:solidFill>
                <a:latin typeface="Arial"/>
                <a:cs typeface="Arial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064003" y="2022614"/>
              <a:ext cx="2402794" cy="1329656"/>
            </a:xfrm>
            <a:prstGeom prst="rect">
              <a:avLst/>
            </a:prstGeom>
            <a:noFill/>
          </p:spPr>
          <p:txBody>
            <a:bodyPr wrap="square" lIns="0" bIns="0" rtlCol="0">
              <a:spAutoFit/>
            </a:bodyPr>
            <a:lstStyle/>
            <a:p>
              <a:pPr defTabSz="514441"/>
              <a:r>
                <a:rPr lang="en-US" sz="1238" b="1" dirty="0">
                  <a:solidFill>
                    <a:prstClr val="white"/>
                  </a:solidFill>
                  <a:latin typeface="Arial"/>
                  <a:cs typeface="Arial"/>
                </a:rPr>
                <a:t>Inputs</a:t>
              </a:r>
            </a:p>
            <a:p>
              <a:pPr marL="192916" indent="-192916" defTabSz="514441">
                <a:buFont typeface="Arial"/>
                <a:buChar char="•"/>
              </a:pPr>
              <a:r>
                <a:rPr lang="en-US" sz="1238" dirty="0">
                  <a:solidFill>
                    <a:prstClr val="white"/>
                  </a:solidFill>
                  <a:latin typeface="Arial"/>
                  <a:cs typeface="Arial"/>
                </a:rPr>
                <a:t>Academic control – entry and exit requirements and academic coursework</a:t>
              </a:r>
            </a:p>
            <a:p>
              <a:pPr marL="192916" indent="-192916" defTabSz="514441">
                <a:buFont typeface="Arial"/>
                <a:buChar char="•"/>
              </a:pPr>
              <a:r>
                <a:rPr lang="en-US" sz="1238" dirty="0">
                  <a:solidFill>
                    <a:prstClr val="white"/>
                  </a:solidFill>
                  <a:latin typeface="Arial"/>
                  <a:cs typeface="Arial"/>
                </a:rPr>
                <a:t>Provision of campus services</a:t>
              </a:r>
            </a:p>
            <a:p>
              <a:pPr marL="192916" indent="-192916" defTabSz="514441">
                <a:buFont typeface="Arial"/>
                <a:buChar char="•"/>
              </a:pPr>
              <a:r>
                <a:rPr lang="en-US" sz="1238" dirty="0">
                  <a:solidFill>
                    <a:prstClr val="white"/>
                  </a:solidFill>
                  <a:latin typeface="Arial"/>
                  <a:cs typeface="Arial"/>
                </a:rPr>
                <a:t>Health, dining and residence services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304746" y="2462081"/>
              <a:ext cx="2044855" cy="2447105"/>
            </a:xfrm>
            <a:prstGeom prst="rect">
              <a:avLst/>
            </a:prstGeom>
            <a:noFill/>
          </p:spPr>
          <p:txBody>
            <a:bodyPr wrap="square" lIns="0" bIns="0" rtlCol="0">
              <a:spAutoFit/>
            </a:bodyPr>
            <a:lstStyle/>
            <a:p>
              <a:pPr defTabSz="514441"/>
              <a:r>
                <a:rPr lang="en-US" sz="1350" b="1" dirty="0">
                  <a:solidFill>
                    <a:prstClr val="white"/>
                  </a:solidFill>
                  <a:latin typeface="Arial"/>
                  <a:cs typeface="Arial"/>
                </a:rPr>
                <a:t>University returns</a:t>
              </a:r>
            </a:p>
            <a:p>
              <a:pPr marL="192916" indent="-192916" defTabSz="514441">
                <a:buFont typeface="Arial"/>
                <a:buChar char="•"/>
              </a:pPr>
              <a:r>
                <a:rPr lang="en-US" sz="1350" dirty="0">
                  <a:solidFill>
                    <a:prstClr val="white"/>
                  </a:solidFill>
                  <a:latin typeface="Arial"/>
                  <a:cs typeface="Arial"/>
                </a:rPr>
                <a:t>International student enrollment growth</a:t>
              </a:r>
            </a:p>
            <a:p>
              <a:pPr marL="192916" indent="-192916" defTabSz="514441">
                <a:buFont typeface="Arial"/>
                <a:buChar char="•"/>
              </a:pPr>
              <a:r>
                <a:rPr lang="en-US" sz="1350" dirty="0">
                  <a:solidFill>
                    <a:prstClr val="white"/>
                  </a:solidFill>
                  <a:latin typeface="Arial"/>
                  <a:cs typeface="Arial"/>
                </a:rPr>
                <a:t>Stronger student outcomes and experiences</a:t>
              </a:r>
            </a:p>
            <a:p>
              <a:pPr marL="192916" indent="-192916" defTabSz="514441">
                <a:buFont typeface="Arial"/>
                <a:buChar char="•"/>
              </a:pPr>
              <a:r>
                <a:rPr lang="en-US" sz="1350" dirty="0">
                  <a:solidFill>
                    <a:prstClr val="white"/>
                  </a:solidFill>
                  <a:latin typeface="Arial"/>
                  <a:cs typeface="Arial"/>
                </a:rPr>
                <a:t>Substantial increase in mission-enabling revenues </a:t>
              </a:r>
            </a:p>
            <a:p>
              <a:pPr marL="192916" indent="-192916" defTabSz="514441">
                <a:buFont typeface="Arial"/>
                <a:buChar char="•"/>
              </a:pPr>
              <a:r>
                <a:rPr lang="en-US" sz="1350" dirty="0">
                  <a:solidFill>
                    <a:prstClr val="white"/>
                  </a:solidFill>
                  <a:latin typeface="Arial"/>
                  <a:cs typeface="Arial"/>
                </a:rPr>
                <a:t>Academic control</a:t>
              </a:r>
            </a:p>
            <a:p>
              <a:pPr marL="192916" indent="-192916" defTabSz="514441">
                <a:buFont typeface="Arial"/>
                <a:buChar char="•"/>
              </a:pPr>
              <a:r>
                <a:rPr lang="en-US" sz="1350" dirty="0">
                  <a:solidFill>
                    <a:prstClr val="white"/>
                  </a:solidFill>
                  <a:latin typeface="Arial"/>
                  <a:cs typeface="Arial"/>
                </a:rPr>
                <a:t>Positive community impact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325806" y="4810987"/>
              <a:ext cx="1724553" cy="1146061"/>
            </a:xfrm>
            <a:prstGeom prst="rect">
              <a:avLst/>
            </a:prstGeom>
            <a:noFill/>
          </p:spPr>
          <p:txBody>
            <a:bodyPr wrap="square" lIns="0" bIns="0" rtlCol="0">
              <a:spAutoFit/>
            </a:bodyPr>
            <a:lstStyle/>
            <a:p>
              <a:pPr marL="192916" indent="-192916" defTabSz="514441">
                <a:buFont typeface="Arial"/>
                <a:buChar char="•"/>
              </a:pPr>
              <a:r>
                <a:rPr lang="en-US" sz="1238" dirty="0">
                  <a:solidFill>
                    <a:prstClr val="black"/>
                  </a:solidFill>
                  <a:latin typeface="Arial"/>
                  <a:cs typeface="Arial"/>
                </a:rPr>
                <a:t>Programs</a:t>
              </a:r>
            </a:p>
            <a:p>
              <a:pPr marL="192916" indent="-192916" defTabSz="514441">
                <a:buFont typeface="Arial"/>
                <a:buChar char="•"/>
              </a:pPr>
              <a:r>
                <a:rPr lang="en-US" sz="1238" dirty="0">
                  <a:solidFill>
                    <a:prstClr val="black"/>
                  </a:solidFill>
                  <a:latin typeface="Arial"/>
                  <a:cs typeface="Arial"/>
                </a:rPr>
                <a:t>Pathway and English teaching</a:t>
              </a:r>
            </a:p>
            <a:p>
              <a:pPr marL="192916" indent="-192916" defTabSz="514441">
                <a:buFont typeface="Arial"/>
                <a:buChar char="•"/>
              </a:pPr>
              <a:r>
                <a:rPr lang="en-US" sz="1238" dirty="0">
                  <a:solidFill>
                    <a:prstClr val="black"/>
                  </a:solidFill>
                  <a:latin typeface="Arial"/>
                  <a:cs typeface="Arial"/>
                </a:rPr>
                <a:t>Assured progression</a:t>
              </a:r>
            </a:p>
            <a:p>
              <a:pPr marL="192916" indent="-192916" defTabSz="514441">
                <a:buFont typeface="Arial"/>
                <a:buChar char="•"/>
              </a:pPr>
              <a:r>
                <a:rPr lang="en-US" sz="1238" dirty="0">
                  <a:solidFill>
                    <a:prstClr val="black"/>
                  </a:solidFill>
                  <a:latin typeface="Arial"/>
                  <a:cs typeface="Arial"/>
                </a:rPr>
                <a:t>Globalized campus experience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3274739" y="4820843"/>
              <a:ext cx="1562684" cy="1146061"/>
            </a:xfrm>
            <a:prstGeom prst="rect">
              <a:avLst/>
            </a:prstGeom>
            <a:noFill/>
          </p:spPr>
          <p:txBody>
            <a:bodyPr wrap="square" lIns="0" bIns="0" rtlCol="0">
              <a:spAutoFit/>
            </a:bodyPr>
            <a:lstStyle/>
            <a:p>
              <a:pPr marL="192916" indent="-192916" defTabSz="514441">
                <a:buFont typeface="Arial"/>
                <a:buChar char="•"/>
              </a:pPr>
              <a:r>
                <a:rPr lang="en-US" sz="1238" dirty="0">
                  <a:solidFill>
                    <a:prstClr val="black"/>
                  </a:solidFill>
                  <a:latin typeface="Arial"/>
                  <a:cs typeface="Arial"/>
                </a:rPr>
                <a:t>Specialized preparation</a:t>
              </a:r>
            </a:p>
            <a:p>
              <a:pPr marL="192916" indent="-192916" defTabSz="514441">
                <a:buFont typeface="Arial"/>
                <a:buChar char="•"/>
              </a:pPr>
              <a:r>
                <a:rPr lang="en-US" sz="1238" dirty="0">
                  <a:solidFill>
                    <a:prstClr val="black"/>
                  </a:solidFill>
                  <a:latin typeface="Arial"/>
                  <a:cs typeface="Arial"/>
                </a:rPr>
                <a:t>On-campus facilities</a:t>
              </a:r>
            </a:p>
            <a:p>
              <a:pPr marL="192916" indent="-192916" defTabSz="514441">
                <a:buFont typeface="Arial"/>
                <a:buChar char="•"/>
              </a:pPr>
              <a:r>
                <a:rPr lang="en-US" sz="1238" dirty="0">
                  <a:solidFill>
                    <a:prstClr val="black"/>
                  </a:solidFill>
                  <a:latin typeface="Arial"/>
                  <a:cs typeface="Arial"/>
                </a:rPr>
                <a:t>Strong student outcom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3594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 smtClean="0">
                <a:solidFill>
                  <a:srgbClr val="FF0000"/>
                </a:solidFill>
              </a:rPr>
              <a:t>What INTO Brings to the Partnership</a:t>
            </a:r>
            <a:endParaRPr lang="en-US" sz="4800" b="1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tart up capital</a:t>
            </a:r>
          </a:p>
          <a:p>
            <a:r>
              <a:rPr lang="en-US" dirty="0" smtClean="0"/>
              <a:t>Global outreach</a:t>
            </a:r>
          </a:p>
          <a:p>
            <a:r>
              <a:rPr lang="en-US" dirty="0" smtClean="0"/>
              <a:t>Recruitment and marketing know how</a:t>
            </a:r>
          </a:p>
          <a:p>
            <a:r>
              <a:rPr lang="en-US" dirty="0" smtClean="0"/>
              <a:t>Application processing</a:t>
            </a:r>
          </a:p>
          <a:p>
            <a:r>
              <a:rPr lang="en-US" dirty="0" smtClean="0"/>
              <a:t>International student experience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7161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 smtClean="0">
                <a:solidFill>
                  <a:srgbClr val="FF0000"/>
                </a:solidFill>
              </a:rPr>
              <a:t>Illinois State University’s Contributions</a:t>
            </a:r>
            <a:endParaRPr lang="en-US" sz="4800" b="1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cademic reputation</a:t>
            </a:r>
          </a:p>
          <a:p>
            <a:r>
              <a:rPr lang="en-US" dirty="0" smtClean="0"/>
              <a:t>Quality academic programs</a:t>
            </a:r>
          </a:p>
          <a:p>
            <a:r>
              <a:rPr lang="en-US" dirty="0" smtClean="0"/>
              <a:t>Experienced faculty</a:t>
            </a:r>
          </a:p>
          <a:p>
            <a:r>
              <a:rPr lang="en-US" dirty="0" smtClean="0"/>
              <a:t>Control of all academic related matters</a:t>
            </a:r>
          </a:p>
          <a:p>
            <a:r>
              <a:rPr lang="en-US" dirty="0" smtClean="0"/>
              <a:t>Facilities and servic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2426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smtClean="0">
            <a:solidFill>
              <a:srgbClr val="FFFFFF"/>
            </a:solidFill>
            <a:latin typeface="Arial"/>
            <a:cs typeface="Arial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281</TotalTime>
  <Words>864</Words>
  <Application>Microsoft Office PowerPoint</Application>
  <PresentationFormat>Custom</PresentationFormat>
  <Paragraphs>308</Paragraphs>
  <Slides>25</Slides>
  <Notes>2</Notes>
  <HiddenSlides>1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0" baseType="lpstr">
      <vt:lpstr>Arial</vt:lpstr>
      <vt:lpstr>Calibri</vt:lpstr>
      <vt:lpstr>Office Theme</vt:lpstr>
      <vt:lpstr>3_Office Theme</vt:lpstr>
      <vt:lpstr>think-cell Slide</vt:lpstr>
      <vt:lpstr>International Pathway Partnership</vt:lpstr>
      <vt:lpstr>Foundation for International Enrollment</vt:lpstr>
      <vt:lpstr>The number of international students is forecast to double by 2025, creating a big opportunity for universities</vt:lpstr>
      <vt:lpstr>ISU Far Behind State and National Rates </vt:lpstr>
      <vt:lpstr>Joint Venture:  Partnering with INTO</vt:lpstr>
      <vt:lpstr>INTO Joint Ventures in U.S</vt:lpstr>
      <vt:lpstr>An INTO partnership gives universities academic control, but brings capital, global reach &amp; track record</vt:lpstr>
      <vt:lpstr>What INTO Brings to the Partnership</vt:lpstr>
      <vt:lpstr>Illinois State University’s Contributions</vt:lpstr>
      <vt:lpstr>PowerPoint Presentation</vt:lpstr>
      <vt:lpstr>PowerPoint Presentation</vt:lpstr>
      <vt:lpstr>PowerPoint Presentation</vt:lpstr>
      <vt:lpstr>Undergraduate Pathways</vt:lpstr>
      <vt:lpstr>How were the pathways developed?</vt:lpstr>
      <vt:lpstr>PowerPoint Presentation</vt:lpstr>
      <vt:lpstr>PowerPoint Presentation</vt:lpstr>
      <vt:lpstr>PowerPoint Presentation</vt:lpstr>
      <vt:lpstr>PowerPoint Presentation</vt:lpstr>
      <vt:lpstr>Graduate Academic Pathways</vt:lpstr>
      <vt:lpstr>Example – 1 &amp; 2 Semester Graduate Pathway</vt:lpstr>
      <vt:lpstr>PowerPoint Presentation</vt:lpstr>
      <vt:lpstr>International Enrollment Trends</vt:lpstr>
      <vt:lpstr>International Student by Type</vt:lpstr>
      <vt:lpstr>Top Countries for International Students</vt:lpstr>
      <vt:lpstr>Top Academic Fields for Internationals</vt:lpstr>
    </vt:vector>
  </TitlesOfParts>
  <Company>Illinois State Universit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n Robinson</dc:creator>
  <cp:lastModifiedBy>Paterson, Brent</cp:lastModifiedBy>
  <cp:revision>76</cp:revision>
  <cp:lastPrinted>2017-04-06T13:14:27Z</cp:lastPrinted>
  <dcterms:created xsi:type="dcterms:W3CDTF">2014-09-10T13:05:02Z</dcterms:created>
  <dcterms:modified xsi:type="dcterms:W3CDTF">2018-01-10T14:27:43Z</dcterms:modified>
</cp:coreProperties>
</file>